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55"/>
  </p:notesMasterIdLst>
  <p:handoutMasterIdLst>
    <p:handoutMasterId r:id="rId56"/>
  </p:handoutMasterIdLst>
  <p:sldIdLst>
    <p:sldId id="4289" r:id="rId2"/>
    <p:sldId id="4273" r:id="rId3"/>
    <p:sldId id="4457" r:id="rId4"/>
    <p:sldId id="4270" r:id="rId5"/>
    <p:sldId id="4293" r:id="rId6"/>
    <p:sldId id="4312" r:id="rId7"/>
    <p:sldId id="4313" r:id="rId8"/>
    <p:sldId id="4456" r:id="rId9"/>
    <p:sldId id="4300" r:id="rId10"/>
    <p:sldId id="4315" r:id="rId11"/>
    <p:sldId id="4304" r:id="rId12"/>
    <p:sldId id="4305" r:id="rId13"/>
    <p:sldId id="4458" r:id="rId14"/>
    <p:sldId id="4459" r:id="rId15"/>
    <p:sldId id="4335" r:id="rId16"/>
    <p:sldId id="4460" r:id="rId17"/>
    <p:sldId id="4463" r:id="rId18"/>
    <p:sldId id="4461" r:id="rId19"/>
    <p:sldId id="4462" r:id="rId20"/>
    <p:sldId id="4478" r:id="rId21"/>
    <p:sldId id="4486" r:id="rId22"/>
    <p:sldId id="4487" r:id="rId23"/>
    <p:sldId id="4489" r:id="rId24"/>
    <p:sldId id="4490" r:id="rId25"/>
    <p:sldId id="4317" r:id="rId26"/>
    <p:sldId id="4336" r:id="rId27"/>
    <p:sldId id="656" r:id="rId28"/>
    <p:sldId id="3416" r:id="rId29"/>
    <p:sldId id="4453" r:id="rId30"/>
    <p:sldId id="4454" r:id="rId31"/>
    <p:sldId id="4479" r:id="rId32"/>
    <p:sldId id="4477" r:id="rId33"/>
    <p:sldId id="4323" r:id="rId34"/>
    <p:sldId id="4455" r:id="rId35"/>
    <p:sldId id="4464" r:id="rId36"/>
    <p:sldId id="4488" r:id="rId37"/>
    <p:sldId id="4466" r:id="rId38"/>
    <p:sldId id="4465" r:id="rId39"/>
    <p:sldId id="4480" r:id="rId40"/>
    <p:sldId id="4467" r:id="rId41"/>
    <p:sldId id="4468" r:id="rId42"/>
    <p:sldId id="4330" r:id="rId43"/>
    <p:sldId id="4470" r:id="rId44"/>
    <p:sldId id="4471" r:id="rId45"/>
    <p:sldId id="4483" r:id="rId46"/>
    <p:sldId id="4482" r:id="rId47"/>
    <p:sldId id="4472" r:id="rId48"/>
    <p:sldId id="4473" r:id="rId49"/>
    <p:sldId id="4474" r:id="rId50"/>
    <p:sldId id="4484" r:id="rId51"/>
    <p:sldId id="4485" r:id="rId52"/>
    <p:sldId id="4475" r:id="rId53"/>
    <p:sldId id="4298" r:id="rId5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646A2A-5463-31BB-24B8-887E45DDAF69}" name="Orla Casey" initials="OC" userId="S::orla@momentumconsulting.ie::ee9f56f0-43a2-47ae-a5b8-d4a7d2f5cec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1F7A"/>
    <a:srgbClr val="595959"/>
    <a:srgbClr val="F16924"/>
    <a:srgbClr val="EDA13E"/>
    <a:srgbClr val="245473"/>
    <a:srgbClr val="D66A35"/>
    <a:srgbClr val="7F1C58"/>
    <a:srgbClr val="DC6C36"/>
    <a:srgbClr val="18425B"/>
    <a:srgbClr val="DE9B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36" autoAdjust="0"/>
    <p:restoredTop sz="94663"/>
  </p:normalViewPr>
  <p:slideViewPr>
    <p:cSldViewPr snapToGrid="0" snapToObjects="1">
      <p:cViewPr varScale="1">
        <p:scale>
          <a:sx n="80" d="100"/>
          <a:sy n="80" d="100"/>
        </p:scale>
        <p:origin x="-24" y="52"/>
      </p:cViewPr>
      <p:guideLst/>
    </p:cSldViewPr>
  </p:slideViewPr>
  <p:notesTextViewPr>
    <p:cViewPr>
      <p:scale>
        <a:sx n="1" d="1"/>
        <a:sy n="1" d="1"/>
      </p:scale>
      <p:origin x="0" y="0"/>
    </p:cViewPr>
  </p:notesTextViewPr>
  <p:sorterViewPr>
    <p:cViewPr>
      <p:scale>
        <a:sx n="58" d="100"/>
        <a:sy n="58" d="100"/>
      </p:scale>
      <p:origin x="0" y="-6568"/>
    </p:cViewPr>
  </p:sorterViewPr>
  <p:notesViewPr>
    <p:cSldViewPr snapToGrid="0" snapToObjects="1">
      <p:cViewPr varScale="1">
        <p:scale>
          <a:sx n="42" d="100"/>
          <a:sy n="42" d="100"/>
        </p:scale>
        <p:origin x="2828" y="4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61" Type="http://schemas.microsoft.com/office/2018/10/relationships/authors" Targe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41F7A"/>
                </a:solidFill>
                <a:latin typeface="+mn-lt"/>
                <a:ea typeface="+mn-ea"/>
                <a:cs typeface="+mn-cs"/>
              </a:defRPr>
            </a:pPr>
            <a:r>
              <a:rPr lang="en-US" sz="1800" b="1" dirty="0">
                <a:solidFill>
                  <a:srgbClr val="F16924"/>
                </a:solidFill>
              </a:rPr>
              <a:t>Προσδιορισιμότητα των κρίσεων</a:t>
            </a: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B41F7A"/>
              </a:solidFill>
              <a:latin typeface="+mn-lt"/>
              <a:ea typeface="+mn-ea"/>
              <a:cs typeface="+mn-cs"/>
            </a:defRPr>
          </a:pPr>
          <a:endParaRPr lang="en-US"/>
        </a:p>
      </c:txPr>
    </c:title>
    <c:autoTitleDeleted val="0"/>
    <c:plotArea>
      <c:layout/>
      <c:barChart>
        <c:barDir val="col"/>
        <c:grouping val="clustered"/>
        <c:varyColors val="0"/>
        <c:ser>
          <c:idx val="0"/>
          <c:order val="0"/>
          <c:tx>
            <c:strRef>
              <c:f>Tabelle1!$B$1</c:f>
              <c:strCache>
                <c:ptCount val="1"/>
                <c:pt idx="0">
                  <c:v>Κύκλος εργασιών σε εκατ. ευρώ</c:v>
                </c:pt>
              </c:strCache>
            </c:strRef>
          </c:tx>
          <c:spPr>
            <a:solidFill>
              <a:srgbClr val="EDA13E"/>
            </a:solidFill>
            <a:ln>
              <a:noFill/>
            </a:ln>
            <a:effectLst/>
          </c:spPr>
          <c:invertIfNegative val="0"/>
          <c:cat>
            <c:strRef>
              <c:f>Tabelle1!$A$2:$A$8</c:f>
              <c:strCache>
                <c:ptCount val="6"/>
                <c:pt idx="0">
                  <c:v>5+ Years</c:v>
                </c:pt>
                <c:pt idx="1">
                  <c:v>4 Years</c:v>
                </c:pt>
                <c:pt idx="2">
                  <c:v>3 Years</c:v>
                </c:pt>
                <c:pt idx="3">
                  <c:v>2 Years</c:v>
                </c:pt>
                <c:pt idx="4">
                  <c:v>1 Year</c:v>
                </c:pt>
                <c:pt idx="5">
                  <c:v>0</c:v>
                </c:pt>
              </c:strCache>
            </c:strRef>
          </c:cat>
          <c:val>
            <c:numRef>
              <c:f>Tabelle1!$B$2:$B$8</c:f>
              <c:numCache>
                <c:formatCode>General</c:formatCode>
                <c:ptCount val="7"/>
                <c:pt idx="0">
                  <c:v>28</c:v>
                </c:pt>
                <c:pt idx="1">
                  <c:v>43</c:v>
                </c:pt>
                <c:pt idx="2">
                  <c:v>63</c:v>
                </c:pt>
                <c:pt idx="3">
                  <c:v>91</c:v>
                </c:pt>
                <c:pt idx="4">
                  <c:v>10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overlap val="-27"/>
        <c:axId val="153392256"/>
        <c:axId val="153393792"/>
      </c:barChart>
      <c:catAx>
        <c:axId val="153392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B41F7A"/>
                </a:solidFill>
                <a:latin typeface="+mn-lt"/>
                <a:ea typeface="+mn-ea"/>
                <a:cs typeface="+mn-cs"/>
              </a:defRPr>
            </a:pPr>
            <a:endParaRPr lang="en-US"/>
          </a:p>
        </c:txPr>
        <c:crossAx val="153393792"/>
        <c:crosses val="autoZero"/>
        <c:auto val="1"/>
        <c:lblAlgn val="ctr"/>
        <c:lblOffset val="100"/>
        <c:noMultiLvlLbl val="0"/>
      </c:catAx>
      <c:valAx>
        <c:axId val="153393792"/>
        <c:scaling>
          <c:orientation val="minMax"/>
          <c:max val="100"/>
        </c:scaling>
        <c:delete val="0"/>
        <c:axPos val="l"/>
        <c:majorGridlines>
          <c:spPr>
            <a:ln w="9525" cap="flat" cmpd="sng" algn="ctr">
              <a:solidFill>
                <a:srgbClr val="595959"/>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rgbClr val="B41F7A"/>
                </a:solidFill>
                <a:latin typeface="+mn-lt"/>
                <a:ea typeface="+mn-ea"/>
                <a:cs typeface="+mn-cs"/>
              </a:defRPr>
            </a:pPr>
            <a:endParaRPr lang="en-US"/>
          </a:p>
        </c:txPr>
        <c:crossAx val="153392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rgbClr val="B41F7A"/>
              </a:solidFill>
              <a:latin typeface="+mn-lt"/>
              <a:ea typeface="+mn-ea"/>
              <a:cs typeface="+mn-cs"/>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E70893E-3828-2BA2-4577-59D4CA1509DB}"/>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877DF93-C69E-7084-0691-17C06CB2ECF9}"/>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2E2C5459-34B8-694F-A4E3-446C77C70A48}" type="datetimeFigureOut">
              <a:rPr lang="en-US" smtClean="0"/>
              <a:t>11/22/2022</a:t>
            </a:fld>
            <a:endParaRPr lang="en-US"/>
          </a:p>
        </p:txBody>
      </p:sp>
      <p:sp>
        <p:nvSpPr>
          <p:cNvPr id="4" name="Footer Placeholder 3">
            <a:extLst>
              <a:ext uri="{FF2B5EF4-FFF2-40B4-BE49-F238E27FC236}">
                <a16:creationId xmlns:a16="http://schemas.microsoft.com/office/drawing/2014/main" id="{D72AA7EA-62A6-CE2D-4A17-96D3FB239F99}"/>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3EDDE1A-B977-B06E-809E-D25A247A097F}"/>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8BA80781-81C0-994E-B058-93A347A8B71C}" type="slidenum">
              <a:rPr lang="en-US" smtClean="0"/>
              <a:t>‹#›</a:t>
            </a:fld>
            <a:endParaRPr lang="en-US"/>
          </a:p>
        </p:txBody>
      </p:sp>
    </p:spTree>
    <p:extLst>
      <p:ext uri="{BB962C8B-B14F-4D97-AF65-F5344CB8AC3E}">
        <p14:creationId xmlns:p14="http://schemas.microsoft.com/office/powerpoint/2010/main" val="6855141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12859788-52C2-4B8F-BBBD-8B962046C54E}" type="datetimeFigureOut">
              <a:rPr lang="en-IE" smtClean="0"/>
              <a:t>22/11/2022</a:t>
            </a:fld>
            <a:endParaRPr lang="en-I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Κάντε κλικ για να επεξεργαστείτε τα στυλ κύριου κειμένου</a:t>
            </a:r>
          </a:p>
          <a:p>
            <a:pPr lvl="1"/>
            <a:r>
              <a:rPr lang="en-US"/>
              <a:t>Δεύτερο επίπεδο</a:t>
            </a:r>
          </a:p>
          <a:p>
            <a:pPr lvl="2"/>
            <a:r>
              <a:rPr lang="en-US"/>
              <a:t>Τρίτο επίπεδο</a:t>
            </a:r>
          </a:p>
          <a:p>
            <a:pPr lvl="3"/>
            <a:r>
              <a:rPr lang="en-US"/>
              <a:t>Τέταρτο επίπεδο</a:t>
            </a:r>
          </a:p>
          <a:p>
            <a:pPr lvl="4"/>
            <a:r>
              <a:rPr lang="en-US"/>
              <a:t>Πέμπτο επίπεδο</a:t>
            </a:r>
            <a:endParaRPr lang="en-I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EECA971F-9F71-45AC-B80A-D85269BAA52C}" type="slidenum">
              <a:rPr lang="en-IE" smtClean="0"/>
              <a:t>‹#›</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3121843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4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066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2780054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344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9815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7</a:t>
            </a:fld>
            <a:endParaRPr lang="en-GB" dirty="0"/>
          </a:p>
        </p:txBody>
      </p:sp>
    </p:spTree>
    <p:extLst>
      <p:ext uri="{BB962C8B-B14F-4D97-AF65-F5344CB8AC3E}">
        <p14:creationId xmlns:p14="http://schemas.microsoft.com/office/powerpoint/2010/main" val="1890462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8</a:t>
            </a:fld>
            <a:endParaRPr lang="en-GB" dirty="0"/>
          </a:p>
        </p:txBody>
      </p:sp>
    </p:spTree>
    <p:extLst>
      <p:ext uri="{BB962C8B-B14F-4D97-AF65-F5344CB8AC3E}">
        <p14:creationId xmlns:p14="http://schemas.microsoft.com/office/powerpoint/2010/main" val="3279176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9</a:t>
            </a:fld>
            <a:endParaRPr lang="en-GB" dirty="0"/>
          </a:p>
        </p:txBody>
      </p:sp>
    </p:spTree>
    <p:extLst>
      <p:ext uri="{BB962C8B-B14F-4D97-AF65-F5344CB8AC3E}">
        <p14:creationId xmlns:p14="http://schemas.microsoft.com/office/powerpoint/2010/main" val="310881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30</a:t>
            </a:fld>
            <a:endParaRPr lang="en-GB" dirty="0"/>
          </a:p>
        </p:txBody>
      </p:sp>
    </p:spTree>
    <p:extLst>
      <p:ext uri="{BB962C8B-B14F-4D97-AF65-F5344CB8AC3E}">
        <p14:creationId xmlns:p14="http://schemas.microsoft.com/office/powerpoint/2010/main" val="273927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3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18995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3"/>
            <a:ext cx="5736184"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9" name="Rectangle 8">
            <a:extLst>
              <a:ext uri="{FF2B5EF4-FFF2-40B4-BE49-F238E27FC236}">
                <a16:creationId xmlns:a16="http://schemas.microsoft.com/office/drawing/2014/main" id="{D03E0E12-FB23-2F44-87D8-ABAAFB8156D3}"/>
              </a:ext>
            </a:extLst>
          </p:cNvPr>
          <p:cNvSpPr/>
          <p:nvPr userDrawn="1"/>
        </p:nvSpPr>
        <p:spPr>
          <a:xfrm>
            <a:off x="1400660" y="145829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7" name="Rectangle 16">
            <a:extLst>
              <a:ext uri="{FF2B5EF4-FFF2-40B4-BE49-F238E27FC236}">
                <a16:creationId xmlns:a16="http://schemas.microsoft.com/office/drawing/2014/main" id="{EB068B24-AAD2-EC46-9C66-7437E5F1B308}"/>
              </a:ext>
            </a:extLst>
          </p:cNvPr>
          <p:cNvSpPr/>
          <p:nvPr userDrawn="1"/>
        </p:nvSpPr>
        <p:spPr>
          <a:xfrm>
            <a:off x="676972" y="141915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983720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B8D17229-747C-F44E-BD6D-9DEA1E784AC8}"/>
              </a:ext>
            </a:extLst>
          </p:cNvPr>
          <p:cNvSpPr/>
          <p:nvPr userDrawn="1"/>
        </p:nvSpPr>
        <p:spPr>
          <a:xfrm>
            <a:off x="831350" y="1502804"/>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2225374" y="17274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2268473" y="17689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8745392" y="178001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8792510" y="182145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1956271" y="4333339"/>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8479091" y="4371185"/>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cstate="screen">
            <a:extLst>
              <a:ext uri="{28A0092B-C50C-407E-A947-70E740481C1C}">
                <a14:useLocalDpi xmlns:a14="http://schemas.microsoft.com/office/drawing/2010/main"/>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23" name="Group 22">
            <a:extLst>
              <a:ext uri="{FF2B5EF4-FFF2-40B4-BE49-F238E27FC236}">
                <a16:creationId xmlns:a16="http://schemas.microsoft.com/office/drawing/2014/main" id="{27A6C471-9B84-9F43-9569-9F24F514FA76}"/>
              </a:ext>
            </a:extLst>
          </p:cNvPr>
          <p:cNvGrpSpPr/>
          <p:nvPr userDrawn="1"/>
        </p:nvGrpSpPr>
        <p:grpSpPr>
          <a:xfrm>
            <a:off x="373314" y="5864969"/>
            <a:ext cx="2735993" cy="679345"/>
            <a:chOff x="0" y="0"/>
            <a:chExt cx="2301694" cy="571500"/>
          </a:xfrm>
        </p:grpSpPr>
        <p:sp>
          <p:nvSpPr>
            <p:cNvPr id="28" name="Rectangle 27">
              <a:extLst>
                <a:ext uri="{FF2B5EF4-FFF2-40B4-BE49-F238E27FC236}">
                  <a16:creationId xmlns:a16="http://schemas.microsoft.com/office/drawing/2014/main" id="{1B5DF232-1F83-4549-9F3A-AFD75E213BA8}"/>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9" name="Picture 28">
              <a:extLst>
                <a:ext uri="{FF2B5EF4-FFF2-40B4-BE49-F238E27FC236}">
                  <a16:creationId xmlns:a16="http://schemas.microsoft.com/office/drawing/2014/main" id="{445249D6-6645-264F-B9B9-5CF884A5A66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84089" y="17737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227188"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1019776" y="1773769"/>
            <a:ext cx="1521426" cy="2214649"/>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66895" y="1815204"/>
            <a:ext cx="1430522" cy="143355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75359" y="1773769"/>
            <a:ext cx="1518092" cy="2214649"/>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511047" y="177376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58165"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714586"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832077" y="3024269"/>
            <a:ext cx="1921262" cy="2081780"/>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970654" y="3024269"/>
            <a:ext cx="1916323" cy="2081780"/>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5104293" y="3024269"/>
            <a:ext cx="1918793" cy="2081780"/>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7242870" y="3024269"/>
            <a:ext cx="1916323" cy="2081780"/>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9376508" y="3024269"/>
            <a:ext cx="1921262" cy="2081780"/>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846019" y="3772431"/>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73021" y="3766181"/>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116948" y="3757727"/>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71386" y="3751477"/>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1239" y="3739902"/>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50595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2384303" y="2144026"/>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6875324" y="2733089"/>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4224538" y="3013484"/>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8911127" y="1536112"/>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5574671" y="1498412"/>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2108622" y="3272672"/>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5923397" y="4495568"/>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5527546" y="1342899"/>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8058164" y="2400858"/>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10852680" y="1609156"/>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2519373" y="24767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4466172" y="3462500"/>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5659370" y="1887731"/>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2138039" y="3421579"/>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6003355" y="4641816"/>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6964823" y="3174422"/>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9081526" y="2119951"/>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10942078" y="1707788"/>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8119887" y="246387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5575772" y="139006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089889" y="214109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385115" y="214109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680341" y="214109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8975567" y="214109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458765" y="169868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753991" y="169868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049217" y="169868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344443" y="169868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562014" y="178697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4860745" y="180544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155971" y="180543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451197" y="180543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435379" y="427957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5798873" y="427957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095831" y="427957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526240" y="427957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747941" y="194690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064548" y="194950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338393" y="196286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655000" y="196545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291885" y="313586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623112" y="311706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6878370" y="3121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209597" y="3102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9" name="Rectangle 48">
            <a:extLst>
              <a:ext uri="{FF2B5EF4-FFF2-40B4-BE49-F238E27FC236}">
                <a16:creationId xmlns:a16="http://schemas.microsoft.com/office/drawing/2014/main" id="{818B98B7-0B2D-7049-BE12-5F81F550DCFB}"/>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2425353"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a:ext>
            </a:extLst>
          </a:blip>
          <a:srcRect l="-5634" t="8478" r="38806" b="9640"/>
          <a:stretch/>
        </p:blipFill>
        <p:spPr>
          <a:xfrm>
            <a:off x="2766729" y="68820"/>
            <a:ext cx="6056868" cy="6817011"/>
          </a:xfrm>
          <a:prstGeom prst="rect">
            <a:avLst/>
          </a:prstGeom>
        </p:spPr>
      </p:pic>
      <p:grpSp>
        <p:nvGrpSpPr>
          <p:cNvPr id="22" name="Group 21">
            <a:extLst>
              <a:ext uri="{FF2B5EF4-FFF2-40B4-BE49-F238E27FC236}">
                <a16:creationId xmlns:a16="http://schemas.microsoft.com/office/drawing/2014/main" id="{0A2D618D-BFF0-D647-A63C-67B5EFE2275A}"/>
              </a:ext>
            </a:extLst>
          </p:cNvPr>
          <p:cNvGrpSpPr/>
          <p:nvPr userDrawn="1"/>
        </p:nvGrpSpPr>
        <p:grpSpPr>
          <a:xfrm>
            <a:off x="9246505" y="5773010"/>
            <a:ext cx="2735993" cy="679345"/>
            <a:chOff x="0" y="0"/>
            <a:chExt cx="2301694" cy="571500"/>
          </a:xfrm>
        </p:grpSpPr>
        <p:sp>
          <p:nvSpPr>
            <p:cNvPr id="23" name="Rectangle 22">
              <a:extLst>
                <a:ext uri="{FF2B5EF4-FFF2-40B4-BE49-F238E27FC236}">
                  <a16:creationId xmlns:a16="http://schemas.microsoft.com/office/drawing/2014/main" id="{0AD4EC1D-50EE-7343-A5F9-2FDC354C015B}"/>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4" name="Picture 23">
              <a:extLst>
                <a:ext uri="{FF2B5EF4-FFF2-40B4-BE49-F238E27FC236}">
                  <a16:creationId xmlns:a16="http://schemas.microsoft.com/office/drawing/2014/main" id="{DFE99017-514D-8644-B8A2-53292AD975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4" cstate="screen">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15" name="Group 14">
            <a:extLst>
              <a:ext uri="{FF2B5EF4-FFF2-40B4-BE49-F238E27FC236}">
                <a16:creationId xmlns:a16="http://schemas.microsoft.com/office/drawing/2014/main" id="{6B19ACD3-270D-F149-9B8D-A452C5A7080B}"/>
              </a:ext>
            </a:extLst>
          </p:cNvPr>
          <p:cNvGrpSpPr/>
          <p:nvPr userDrawn="1"/>
        </p:nvGrpSpPr>
        <p:grpSpPr>
          <a:xfrm>
            <a:off x="551257" y="5868451"/>
            <a:ext cx="2735993" cy="679345"/>
            <a:chOff x="0" y="0"/>
            <a:chExt cx="2301694" cy="571500"/>
          </a:xfrm>
        </p:grpSpPr>
        <p:sp>
          <p:nvSpPr>
            <p:cNvPr id="16" name="Rectangle 15">
              <a:extLst>
                <a:ext uri="{FF2B5EF4-FFF2-40B4-BE49-F238E27FC236}">
                  <a16:creationId xmlns:a16="http://schemas.microsoft.com/office/drawing/2014/main" id="{5DEEA99F-D23F-6A4E-93A2-4B04553909A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7" name="Picture 16">
              <a:extLst>
                <a:ext uri="{FF2B5EF4-FFF2-40B4-BE49-F238E27FC236}">
                  <a16:creationId xmlns:a16="http://schemas.microsoft.com/office/drawing/2014/main" id="{42F1A516-FC4E-2E43-86A7-025339A3E0F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49" name="Rectangle 48">
            <a:extLst>
              <a:ext uri="{FF2B5EF4-FFF2-40B4-BE49-F238E27FC236}">
                <a16:creationId xmlns:a16="http://schemas.microsoft.com/office/drawing/2014/main" id="{EFF71558-928C-3D40-B48E-F1D3A220489E}"/>
              </a:ext>
            </a:extLst>
          </p:cNvPr>
          <p:cNvSpPr/>
          <p:nvPr userDrawn="1"/>
        </p:nvSpPr>
        <p:spPr>
          <a:xfrm>
            <a:off x="6940247" y="6106331"/>
            <a:ext cx="4754536" cy="484748"/>
          </a:xfrm>
          <a:prstGeom prst="rect">
            <a:avLst/>
          </a:prstGeom>
        </p:spPr>
        <p:txBody>
          <a:bodyPr wrap="square">
            <a:spAutoFit/>
          </a:bodyPr>
          <a:lstStyle/>
          <a:p>
            <a:pPr algn="just">
              <a:tabLst>
                <a:tab pos="2865755" algn="ctr"/>
                <a:tab pos="5731510" algn="r"/>
              </a:tabLst>
            </a:pPr>
            <a:r>
              <a:rPr lang="en-US" sz="850" dirty="0">
                <a:solidFill>
                  <a:srgbClr val="595959"/>
                </a:solidFill>
                <a:effectLst/>
                <a:latin typeface="+mn-lt"/>
                <a:ea typeface="Times New Roman" panose="02020603050405020304" pitchFamily="18" charset="0"/>
                <a:cs typeface="Poppins" pitchFamily="2" charset="77"/>
              </a:rPr>
              <a:t>This </a:t>
            </a:r>
            <a:r>
              <a:rPr lang="en-US" sz="850" dirty="0" err="1">
                <a:solidFill>
                  <a:srgbClr val="595959"/>
                </a:solidFill>
                <a:effectLst/>
                <a:latin typeface="+mn-lt"/>
                <a:ea typeface="Times New Roman" panose="02020603050405020304" pitchFamily="18" charset="0"/>
                <a:cs typeface="Poppins" pitchFamily="2" charset="77"/>
              </a:rPr>
              <a:t>programme</a:t>
            </a:r>
            <a:r>
              <a:rPr lang="en-US" sz="850" dirty="0">
                <a:solidFill>
                  <a:srgbClr val="595959"/>
                </a:solidFill>
                <a:effectLst/>
                <a:latin typeface="+mn-lt"/>
                <a:ea typeface="Times New Roman" panose="02020603050405020304" pitchFamily="18" charset="0"/>
                <a:cs typeface="Poppins" pitchFamily="2" charset="77"/>
              </a:rPr>
              <a:t> has been funded with support from the European Commission. The author is solely responsible for this publication (communication)</a:t>
            </a:r>
            <a:r>
              <a:rPr lang="en-IE" sz="850" dirty="0">
                <a:solidFill>
                  <a:srgbClr val="595959"/>
                </a:solidFill>
                <a:effectLst/>
                <a:latin typeface="+mn-lt"/>
                <a:ea typeface="Calibri" panose="020F0502020204030204" pitchFamily="34" charset="0"/>
                <a:cs typeface="Poppins" pitchFamily="2" charset="77"/>
              </a:rPr>
              <a:t>  </a:t>
            </a:r>
            <a:r>
              <a:rPr lang="en-US" sz="850" dirty="0">
                <a:solidFill>
                  <a:srgbClr val="595959"/>
                </a:solidFill>
                <a:effectLst/>
                <a:latin typeface="+mn-lt"/>
                <a:ea typeface="Times New Roman" panose="02020603050405020304" pitchFamily="18" charset="0"/>
                <a:cs typeface="Poppins" pitchFamily="2" charset="77"/>
              </a:rPr>
              <a:t>and the Commission accepts no responsibility for any use that may be made of the information contained therein </a:t>
            </a:r>
            <a:endParaRPr lang="en-IE" sz="850" dirty="0">
              <a:solidFill>
                <a:srgbClr val="595959"/>
              </a:solidFill>
              <a:effectLst/>
              <a:latin typeface="+mn-lt"/>
              <a:ea typeface="Calibri" panose="020F0502020204030204" pitchFamily="34" charset="0"/>
              <a:cs typeface="Poppins" pitchFamily="2" charset="77"/>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D5A2AA6-883F-854A-8546-F99F3B503C78}"/>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 Placeholder 23">
            <a:extLst>
              <a:ext uri="{FF2B5EF4-FFF2-40B4-BE49-F238E27FC236}">
                <a16:creationId xmlns:a16="http://schemas.microsoft.com/office/drawing/2014/main" id="{3864A3C8-D9B2-6D4F-8AF6-446AA2B02124}"/>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1" name="Text Placeholder 23">
            <a:extLst>
              <a:ext uri="{FF2B5EF4-FFF2-40B4-BE49-F238E27FC236}">
                <a16:creationId xmlns:a16="http://schemas.microsoft.com/office/drawing/2014/main" id="{85D7608D-36AC-F749-962E-A70668D2E0DE}"/>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
        <p:nvSpPr>
          <p:cNvPr id="12" name="Rectangle 11">
            <a:extLst>
              <a:ext uri="{FF2B5EF4-FFF2-40B4-BE49-F238E27FC236}">
                <a16:creationId xmlns:a16="http://schemas.microsoft.com/office/drawing/2014/main" id="{1A50FDCB-F35B-6E4C-894D-A4695AE5E74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1" name="Rectangle 20">
            <a:extLst>
              <a:ext uri="{FF2B5EF4-FFF2-40B4-BE49-F238E27FC236}">
                <a16:creationId xmlns:a16="http://schemas.microsoft.com/office/drawing/2014/main" id="{F846D437-A8B0-7F48-B709-560A8DE58A6A}"/>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Icon&#10;&#10;Description automatically generated">
            <a:extLst>
              <a:ext uri="{FF2B5EF4-FFF2-40B4-BE49-F238E27FC236}">
                <a16:creationId xmlns:a16="http://schemas.microsoft.com/office/drawing/2014/main" id="{2B00F7C6-7124-174D-BBD2-6E777596E854}"/>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5866785" y="863793"/>
            <a:ext cx="6035215" cy="4808588"/>
          </a:xfrm>
          <a:prstGeom prst="rect">
            <a:avLst/>
          </a:prstGeom>
        </p:spPr>
      </p:pic>
      <p:pic>
        <p:nvPicPr>
          <p:cNvPr id="14" name="Picture 13" descr="Logo&#10;&#10;Description automatically generated">
            <a:extLst>
              <a:ext uri="{FF2B5EF4-FFF2-40B4-BE49-F238E27FC236}">
                <a16:creationId xmlns:a16="http://schemas.microsoft.com/office/drawing/2014/main" id="{8382540D-A0C4-894D-9851-E0E36268305F}"/>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5866785" y="863793"/>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Κάντε κλικ για να επεξεργαστείτε το στυλ του κύριου τίτλου</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Κάντε κλικ για να επεξεργαστείτε τα στυλ κύριου κειμένου</a:t>
            </a:r>
          </a:p>
          <a:p>
            <a:pPr lvl="1"/>
            <a:r>
              <a:rPr lang="en-GB"/>
              <a:t>Δεύτερο επίπεδο</a:t>
            </a:r>
          </a:p>
          <a:p>
            <a:pPr lvl="2"/>
            <a:r>
              <a:rPr lang="en-GB"/>
              <a:t>Τρίτο επίπεδο</a:t>
            </a:r>
          </a:p>
          <a:p>
            <a:pPr lvl="3"/>
            <a:r>
              <a:rPr lang="en-GB"/>
              <a:t>Τέταρτο επίπεδο</a:t>
            </a:r>
          </a:p>
          <a:p>
            <a:pPr lvl="4"/>
            <a:r>
              <a:rPr lang="en-GB"/>
              <a:t>Πέμπτο επίπεδο</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1/22/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66" r:id="rId19"/>
    <p:sldLayoutId id="2147483833" r:id="rId20"/>
    <p:sldLayoutId id="2147483847" r:id="rId21"/>
    <p:sldLayoutId id="2147483871" r:id="rId22"/>
    <p:sldLayoutId id="2147483875" r:id="rId23"/>
    <p:sldLayoutId id="2147483837" r:id="rId24"/>
    <p:sldLayoutId id="2147483838" r:id="rId25"/>
    <p:sldLayoutId id="2147483844" r:id="rId26"/>
    <p:sldLayoutId id="2147483848" r:id="rId27"/>
    <p:sldLayoutId id="2147483849" r:id="rId28"/>
    <p:sldLayoutId id="2147483851" r:id="rId29"/>
    <p:sldLayoutId id="2147483854" r:id="rId30"/>
    <p:sldLayoutId id="2147483855" r:id="rId31"/>
    <p:sldLayoutId id="2147483856" r:id="rId32"/>
    <p:sldLayoutId id="2147483857" r:id="rId33"/>
    <p:sldLayoutId id="2147483864" r:id="rId34"/>
    <p:sldLayoutId id="2147483852" r:id="rId35"/>
    <p:sldLayoutId id="2147483858" r:id="rId36"/>
    <p:sldLayoutId id="2147483859" r:id="rId37"/>
    <p:sldLayoutId id="2147483860" r:id="rId38"/>
    <p:sldLayoutId id="2147483874" r:id="rId3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hyperlink" Target="https://en.wikipedia.org/wiki/Death_of_a_Salesman" TargetMode="External"/><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webfx.com/blog/marketing/how-5-big-brands-came-back-from-the-brink-of-failure/" TargetMode="Externa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hyperlink" Target="https://www.businessfinland.fi/en/whats-new/news/2021/sustainable-is-resilient--how-to-prepare--for-crisis-and-grow-sustainably" TargetMode="External"/><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rathmullanrestaurants.com/" TargetMode="External"/><Relationship Id="rId1" Type="http://schemas.openxmlformats.org/officeDocument/2006/relationships/slideLayout" Target="../slideLayouts/slideLayout19.xml"/><Relationship Id="rId5" Type="http://schemas.openxmlformats.org/officeDocument/2006/relationships/image" Target="../media/image15.jpe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19.xml"/><Relationship Id="rId4" Type="http://schemas.openxmlformats.org/officeDocument/2006/relationships/image" Target="../media/image15.jpeg"/></Relationships>
</file>

<file path=ppt/slides/_rels/slide23.xml.rels><?xml version="1.0" encoding="UTF-8" standalone="yes"?>
<Relationships xmlns="http://schemas.openxmlformats.org/package/2006/relationships"><Relationship Id="rId3" Type="http://schemas.openxmlformats.org/officeDocument/2006/relationships/hyperlink" Target="https://turnaround.org/about/tma-awards" TargetMode="External"/><Relationship Id="rId2" Type="http://schemas.openxmlformats.org/officeDocument/2006/relationships/hyperlink" Target="https://www.nuevapescanova.com/" TargetMode="External"/><Relationship Id="rId1" Type="http://schemas.openxmlformats.org/officeDocument/2006/relationships/slideLayout" Target="../slideLayouts/slideLayout19.xml"/><Relationship Id="rId5" Type="http://schemas.openxmlformats.org/officeDocument/2006/relationships/image" Target="../media/image16.png"/><Relationship Id="rId4" Type="http://schemas.openxmlformats.org/officeDocument/2006/relationships/hyperlink" Target="https://en.wikipedia.org/wiki/Pescanova"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amazon.co.uk/Antifragile-Things-that-Gain-Disorder/dp/0141038225" TargetMode="External"/><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31.xml.rels><?xml version="1.0" encoding="UTF-8" standalone="yes"?>
<Relationships xmlns="http://schemas.openxmlformats.org/package/2006/relationships"><Relationship Id="rId3" Type="http://schemas.openxmlformats.org/officeDocument/2006/relationships/hyperlink" Target="https://www.sciencedirect.com/science/article/pii/S2352673421000603" TargetMode="External"/><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19.jpeg"/></Relationships>
</file>

<file path=ppt/slides/_rels/slide3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19.xml"/><Relationship Id="rId1" Type="http://schemas.openxmlformats.org/officeDocument/2006/relationships/video" Target="https://www.youtube.com/embed/0m1hyBI6Q3c?feature=oembed"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22.svg"/></Relationships>
</file>

<file path=ppt/slides/_rels/slide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hyperlink" Target="https://blog.bcm-institute.org/crisis-management/crisis-stages-pre-crisis" TargetMode="External"/><Relationship Id="rId2" Type="http://schemas.openxmlformats.org/officeDocument/2006/relationships/hyperlink" Target="https://en.wikipedia.org/wiki/Heuristic" TargetMode="Externa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hyperlink" Target="https://blog.bcm-institute.org/crisis-management/crisis-stages-pre-crisis" TargetMode="Externa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hyperlink" Target="https://www.skylarkstairs.com/" TargetMode="External"/><Relationship Id="rId2" Type="http://schemas.openxmlformats.org/officeDocument/2006/relationships/hyperlink" Target="https://www.independent.ie/storyplus/overcoming-brexit-how-this-small-business-turned-a-crisis-into-an-opportunity-37597464.html" TargetMode="External"/><Relationship Id="rId1" Type="http://schemas.openxmlformats.org/officeDocument/2006/relationships/slideLayout" Target="../slideLayouts/slideLayout19.xml"/><Relationship Id="rId6" Type="http://schemas.openxmlformats.org/officeDocument/2006/relationships/image" Target="../media/image23.png"/><Relationship Id="rId5" Type="http://schemas.openxmlformats.org/officeDocument/2006/relationships/hyperlink" Target="https://www.leanbusinessireland.ie/funding-supports-overview/are-you-a-local-enterprise-office-client/lean-for-micro/#:~:text=The%20LEO%20Lean%20for%20Micro%20business%20programme%20helps,and%20improvements%20in%20capability%20and%20capacity%20to%20deliver" TargetMode="External"/><Relationship Id="rId4" Type="http://schemas.openxmlformats.org/officeDocument/2006/relationships/hyperlink" Target="https://www.localenterprise.ie/Galway/"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www.independent.ie/storyplus/overcoming-brexit-how-this-small-business-turned-a-crisis-into-an-opportunity-37597464.html" TargetMode="Externa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39.xml"/><Relationship Id="rId4" Type="http://schemas.openxmlformats.org/officeDocument/2006/relationships/hyperlink" Target="https://www.linkedin.com/company/secure-project/"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hyperlink" Target="https://mohurley.blogspot.com/2017/04/ferryland-iceberg.html" TargetMode="External"/><Relationship Id="rId2" Type="http://schemas.openxmlformats.org/officeDocument/2006/relationships/image" Target="../media/image11.jp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r>
              <a:rPr lang="el-GR" sz="4000" b="1" dirty="0"/>
              <a:t>ΕΝΟΤΗΤΑ</a:t>
            </a:r>
            <a:r>
              <a:rPr lang="en-US" sz="4000" b="1" dirty="0"/>
              <a:t> 1</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10;&#10;Description automatically generated">
            <a:extLst>
              <a:ext uri="{FF2B5EF4-FFF2-40B4-BE49-F238E27FC236}">
                <a16:creationId xmlns:a16="http://schemas.microsoft.com/office/drawing/2014/main" id="{34DF4380-9FA9-C942-95CE-8E68EE0BAE52}"/>
              </a:ext>
            </a:extLst>
          </p:cNvPr>
          <p:cNvPicPr/>
          <p:nvPr/>
        </p:nvPicPr>
        <p:blipFill rotWithShape="1">
          <a:blip r:embed="rId2" cstate="screen">
            <a:extLst>
              <a:ext uri="{28A0092B-C50C-407E-A947-70E740481C1C}">
                <a14:useLocalDpi xmlns:a14="http://schemas.microsoft.com/office/drawing/2010/main"/>
              </a:ext>
            </a:extLst>
          </a:blip>
          <a:srcRect l="-11025" t="-318" r="25497" b="15717"/>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5926" r="25926"/>
          <a:stretch>
            <a:fillRect/>
          </a:stretch>
        </p:blipFill>
        <p:spPr/>
      </p:pic>
      <p:sp>
        <p:nvSpPr>
          <p:cNvPr id="9" name="TextBox 8">
            <a:extLst>
              <a:ext uri="{FF2B5EF4-FFF2-40B4-BE49-F238E27FC236}">
                <a16:creationId xmlns:a16="http://schemas.microsoft.com/office/drawing/2014/main" id="{E47E8D49-C9B4-9A47-D4E3-45D5EB4A7C46}"/>
              </a:ext>
            </a:extLst>
          </p:cNvPr>
          <p:cNvSpPr txBox="1"/>
          <p:nvPr/>
        </p:nvSpPr>
        <p:spPr>
          <a:xfrm>
            <a:off x="6571280" y="0"/>
            <a:ext cx="5741222" cy="1815882"/>
          </a:xfrm>
          <a:prstGeom prst="rect">
            <a:avLst/>
          </a:prstGeom>
          <a:noFill/>
        </p:spPr>
        <p:txBody>
          <a:bodyPr wrap="square">
            <a:spAutoFit/>
          </a:bodyPr>
          <a:lstStyle/>
          <a:p>
            <a:r>
              <a:rPr lang="en-GB" sz="2800" dirty="0">
                <a:solidFill>
                  <a:schemeClr val="bg1"/>
                </a:solidFill>
                <a:highlight>
                  <a:srgbClr val="F16924"/>
                </a:highlight>
              </a:rPr>
              <a:t>ΠΑΚΕΤΟ ΠΡΟΓΡΑΜΜΑΤΟΣ </a:t>
            </a:r>
            <a:r>
              <a:rPr lang="el-GR" sz="2800" dirty="0">
                <a:solidFill>
                  <a:schemeClr val="bg1"/>
                </a:solidFill>
                <a:highlight>
                  <a:srgbClr val="F16924"/>
                </a:highlight>
              </a:rPr>
              <a:t>ΜΑΘΗΜΑΤΩΝ </a:t>
            </a:r>
            <a:r>
              <a:rPr lang="en-GB" sz="2800" dirty="0">
                <a:solidFill>
                  <a:schemeClr val="bg1"/>
                </a:solidFill>
                <a:highlight>
                  <a:srgbClr val="F16924"/>
                </a:highlight>
              </a:rPr>
              <a:t>ΚΑΙ </a:t>
            </a:r>
            <a:r>
              <a:rPr lang="el-GR" sz="2800" dirty="0">
                <a:solidFill>
                  <a:schemeClr val="bg1"/>
                </a:solidFill>
                <a:highlight>
                  <a:srgbClr val="F16924"/>
                </a:highlight>
              </a:rPr>
              <a:t>ΕΠΑΓΓΕΛΜΑΤΙΚΗΣ ΕΚΠΑΙΔΕΥΣΗΣ ΚΑΙ ΚΑΤΑΡΤΙΣΗΣ ΤΟΥ ΕΡΓΟΥ </a:t>
            </a:r>
            <a:r>
              <a:rPr lang="en-GB" sz="2800" dirty="0">
                <a:solidFill>
                  <a:schemeClr val="bg1"/>
                </a:solidFill>
                <a:highlight>
                  <a:srgbClr val="F16924"/>
                </a:highlight>
              </a:rPr>
              <a:t>SECURE </a:t>
            </a:r>
          </a:p>
        </p:txBody>
      </p:sp>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35749" y="3807303"/>
            <a:ext cx="4884972" cy="1315888"/>
          </a:xfrm>
          <a:prstGeom prst="rect">
            <a:avLst/>
          </a:prstGeom>
        </p:spPr>
        <p:txBody>
          <a:bodyPr vert="horz" lIns="91440" tIns="45720" rIns="91440" bIns="45720" rtlCol="0" anchor="t">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dirty="0">
                <a:latin typeface="Calibri" panose="020F0502020204030204" pitchFamily="34" charset="0"/>
                <a:ea typeface="Calibri" panose="020F0502020204030204" pitchFamily="34" charset="0"/>
                <a:cs typeface="Calibri" panose="020F0502020204030204" pitchFamily="34" charset="0"/>
              </a:rPr>
              <a:t>Τα θεμελιώδη στοιχεία της πρώιμης κρίσης των ΜΜΕ </a:t>
            </a:r>
          </a:p>
        </p:txBody>
      </p:sp>
    </p:spTree>
    <p:extLst>
      <p:ext uri="{BB962C8B-B14F-4D97-AF65-F5344CB8AC3E}">
        <p14:creationId xmlns:p14="http://schemas.microsoft.com/office/powerpoint/2010/main" val="14950155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95933" y="1225201"/>
            <a:ext cx="4474068" cy="3423588"/>
          </a:xfrm>
        </p:spPr>
        <p:txBody>
          <a:bodyPr>
            <a:normAutofit fontScale="92500" lnSpcReduction="10000"/>
          </a:bodyPr>
          <a:lstStyle/>
          <a:p>
            <a:r>
              <a:rPr lang="en-US" sz="4000" dirty="0"/>
              <a:t>Η </a:t>
            </a:r>
            <a:r>
              <a:rPr lang="el-GR" sz="4000" dirty="0"/>
              <a:t>ΣΗΜΑΝΤΙΚΗ </a:t>
            </a:r>
            <a:r>
              <a:rPr lang="en-US" sz="4000" dirty="0"/>
              <a:t>ΔΙΑΔΙΚΑΣ</a:t>
            </a:r>
            <a:r>
              <a:rPr lang="el-GR" sz="4000" dirty="0"/>
              <a:t>Ι</a:t>
            </a:r>
            <a:r>
              <a:rPr lang="en-US" sz="4000" dirty="0"/>
              <a:t>Α </a:t>
            </a:r>
            <a:endParaRPr lang="el-GR" sz="4000" dirty="0"/>
          </a:p>
          <a:p>
            <a:r>
              <a:rPr lang="en-US" sz="4000" dirty="0"/>
              <a:t>ΤΗΣ ΑΝΑΓΝ</a:t>
            </a:r>
            <a:r>
              <a:rPr lang="el-GR" sz="4000" dirty="0"/>
              <a:t>Ω</a:t>
            </a:r>
            <a:r>
              <a:rPr lang="en-US" sz="4000" dirty="0"/>
              <a:t>ΡΙΣΗΣ</a:t>
            </a:r>
          </a:p>
          <a:p>
            <a:endParaRPr lang="en-US" sz="4000" b="1" dirty="0"/>
          </a:p>
          <a:p>
            <a:r>
              <a:rPr lang="en-US" sz="2800" dirty="0"/>
              <a:t>Καθορισμός των 5 σαφών σταδίων για την </a:t>
            </a:r>
            <a:r>
              <a:rPr lang="en-US" sz="2800" dirty="0" err="1"/>
              <a:t>αναγνώριση </a:t>
            </a:r>
            <a:r>
              <a:rPr lang="en-US" sz="2800" dirty="0"/>
              <a:t>μιας κρίσης</a:t>
            </a:r>
          </a:p>
        </p:txBody>
      </p:sp>
      <p:sp>
        <p:nvSpPr>
          <p:cNvPr id="7" name="Text Placeholder 6">
            <a:extLst>
              <a:ext uri="{FF2B5EF4-FFF2-40B4-BE49-F238E27FC236}">
                <a16:creationId xmlns:a16="http://schemas.microsoft.com/office/drawing/2014/main" id="{9655EF32-77B1-5309-9EFB-00CB3D384D88}"/>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1075312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A6A4AFB-C570-C170-E84C-84C8021C024E}"/>
              </a:ext>
            </a:extLst>
          </p:cNvPr>
          <p:cNvSpPr/>
          <p:nvPr/>
        </p:nvSpPr>
        <p:spPr>
          <a:xfrm>
            <a:off x="1" y="0"/>
            <a:ext cx="367753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18204">
            <a:extLst>
              <a:ext uri="{FF2B5EF4-FFF2-40B4-BE49-F238E27FC236}">
                <a16:creationId xmlns:a16="http://schemas.microsoft.com/office/drawing/2014/main" id="{FF8C09B4-1A13-4F3B-924F-463BA83AA442}"/>
              </a:ext>
            </a:extLst>
          </p:cNvPr>
          <p:cNvGrpSpPr/>
          <p:nvPr/>
        </p:nvGrpSpPr>
        <p:grpSpPr>
          <a:xfrm>
            <a:off x="4071394" y="3046833"/>
            <a:ext cx="1415796" cy="1577513"/>
            <a:chOff x="0" y="0"/>
            <a:chExt cx="1905957" cy="2123662"/>
          </a:xfrm>
        </p:grpSpPr>
        <p:sp>
          <p:nvSpPr>
            <p:cNvPr id="42" name="Shape 18202">
              <a:extLst>
                <a:ext uri="{FF2B5EF4-FFF2-40B4-BE49-F238E27FC236}">
                  <a16:creationId xmlns:a16="http://schemas.microsoft.com/office/drawing/2014/main" id="{402A1EEB-AAC1-4829-9E23-90384FBB8B71}"/>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3" name="Shape 18203">
              <a:extLst>
                <a:ext uri="{FF2B5EF4-FFF2-40B4-BE49-F238E27FC236}">
                  <a16:creationId xmlns:a16="http://schemas.microsoft.com/office/drawing/2014/main" id="{9808AE67-3948-4593-93BB-E282CED72ED9}"/>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4" name="Group 18207">
            <a:extLst>
              <a:ext uri="{FF2B5EF4-FFF2-40B4-BE49-F238E27FC236}">
                <a16:creationId xmlns:a16="http://schemas.microsoft.com/office/drawing/2014/main" id="{E92CBC1A-290B-45BD-96C1-D085186966BB}"/>
              </a:ext>
            </a:extLst>
          </p:cNvPr>
          <p:cNvGrpSpPr/>
          <p:nvPr/>
        </p:nvGrpSpPr>
        <p:grpSpPr>
          <a:xfrm>
            <a:off x="7997950" y="2248854"/>
            <a:ext cx="1733782" cy="2063284"/>
            <a:chOff x="0" y="0"/>
            <a:chExt cx="2334032" cy="2777611"/>
          </a:xfrm>
        </p:grpSpPr>
        <p:sp>
          <p:nvSpPr>
            <p:cNvPr id="45" name="Shape 18205">
              <a:extLst>
                <a:ext uri="{FF2B5EF4-FFF2-40B4-BE49-F238E27FC236}">
                  <a16:creationId xmlns:a16="http://schemas.microsoft.com/office/drawing/2014/main" id="{D22808D3-81CA-4112-9421-DACD48318E5A}"/>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rgbClr val="B41F7A"/>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6" name="Shape 18206">
              <a:extLst>
                <a:ext uri="{FF2B5EF4-FFF2-40B4-BE49-F238E27FC236}">
                  <a16:creationId xmlns:a16="http://schemas.microsoft.com/office/drawing/2014/main" id="{03CFE8EF-C66A-4C29-BBC5-B1C6C574B6E8}"/>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rgbClr val="B41F7A">
                <a:alpha val="86275"/>
              </a:srgb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7" name="Group 18211">
            <a:extLst>
              <a:ext uri="{FF2B5EF4-FFF2-40B4-BE49-F238E27FC236}">
                <a16:creationId xmlns:a16="http://schemas.microsoft.com/office/drawing/2014/main" id="{B5E4A9CE-CB94-45DF-BBBB-E4A466F65EC0}"/>
              </a:ext>
            </a:extLst>
          </p:cNvPr>
          <p:cNvGrpSpPr/>
          <p:nvPr/>
        </p:nvGrpSpPr>
        <p:grpSpPr>
          <a:xfrm>
            <a:off x="5008700" y="3939807"/>
            <a:ext cx="1347128" cy="1161728"/>
            <a:chOff x="0" y="0"/>
            <a:chExt cx="1813514" cy="1563927"/>
          </a:xfrm>
        </p:grpSpPr>
        <p:sp>
          <p:nvSpPr>
            <p:cNvPr id="48" name="Shape 18208">
              <a:extLst>
                <a:ext uri="{FF2B5EF4-FFF2-40B4-BE49-F238E27FC236}">
                  <a16:creationId xmlns:a16="http://schemas.microsoft.com/office/drawing/2014/main" id="{62A206F8-1A21-4ACB-9720-35E3E0FD9F51}"/>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rgbClr val="651A47"/>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583" dirty="0">
                <a:latin typeface="+mj-lt"/>
                <a:ea typeface="Lato Light" panose="020F0502020204030203" pitchFamily="34" charset="0"/>
                <a:cs typeface="Lato Light" panose="020F0502020204030203" pitchFamily="34" charset="0"/>
              </a:endParaRPr>
            </a:p>
          </p:txBody>
        </p:sp>
        <p:sp>
          <p:nvSpPr>
            <p:cNvPr id="49" name="Shape 18209">
              <a:extLst>
                <a:ext uri="{FF2B5EF4-FFF2-40B4-BE49-F238E27FC236}">
                  <a16:creationId xmlns:a16="http://schemas.microsoft.com/office/drawing/2014/main" id="{DA5853D9-2CCA-4CF1-875A-BDDEB01DAAD3}"/>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rgbClr val="651A47"/>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0" name="Shape 18210">
              <a:extLst>
                <a:ext uri="{FF2B5EF4-FFF2-40B4-BE49-F238E27FC236}">
                  <a16:creationId xmlns:a16="http://schemas.microsoft.com/office/drawing/2014/main" id="{BA9287BC-F11B-44FE-AD57-09F0D7EE1F3B}"/>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rgbClr val="7F1C58"/>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1" name="Group 18215">
            <a:extLst>
              <a:ext uri="{FF2B5EF4-FFF2-40B4-BE49-F238E27FC236}">
                <a16:creationId xmlns:a16="http://schemas.microsoft.com/office/drawing/2014/main" id="{83E31CA5-2ECD-47A5-8B8D-D56690592A2D}"/>
              </a:ext>
            </a:extLst>
          </p:cNvPr>
          <p:cNvGrpSpPr/>
          <p:nvPr/>
        </p:nvGrpSpPr>
        <p:grpSpPr>
          <a:xfrm>
            <a:off x="6414661" y="4224799"/>
            <a:ext cx="1172470" cy="898958"/>
            <a:chOff x="0" y="0"/>
            <a:chExt cx="1578389" cy="1210186"/>
          </a:xfrm>
        </p:grpSpPr>
        <p:sp>
          <p:nvSpPr>
            <p:cNvPr id="52" name="Shape 18212">
              <a:extLst>
                <a:ext uri="{FF2B5EF4-FFF2-40B4-BE49-F238E27FC236}">
                  <a16:creationId xmlns:a16="http://schemas.microsoft.com/office/drawing/2014/main" id="{79FBC787-3BCC-41BD-B30F-EAFE540A65C3}"/>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rgbClr val="CD9040"/>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3" name="Shape 18213">
              <a:extLst>
                <a:ext uri="{FF2B5EF4-FFF2-40B4-BE49-F238E27FC236}">
                  <a16:creationId xmlns:a16="http://schemas.microsoft.com/office/drawing/2014/main" id="{8ABA226C-74CB-4BD8-96AB-9EB298167F71}"/>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rgbClr val="EDA13E"/>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4" name="Shape 18214">
              <a:extLst>
                <a:ext uri="{FF2B5EF4-FFF2-40B4-BE49-F238E27FC236}">
                  <a16:creationId xmlns:a16="http://schemas.microsoft.com/office/drawing/2014/main" id="{B027AFCB-B75E-4161-A13D-1E8DE951E5B9}"/>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rgbClr val="CD9040"/>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5" name="Group 18219">
            <a:extLst>
              <a:ext uri="{FF2B5EF4-FFF2-40B4-BE49-F238E27FC236}">
                <a16:creationId xmlns:a16="http://schemas.microsoft.com/office/drawing/2014/main" id="{15B03CFD-C40B-41E2-88A5-D93BD04DA399}"/>
              </a:ext>
            </a:extLst>
          </p:cNvPr>
          <p:cNvGrpSpPr/>
          <p:nvPr/>
        </p:nvGrpSpPr>
        <p:grpSpPr>
          <a:xfrm>
            <a:off x="7339303" y="3844811"/>
            <a:ext cx="1394113" cy="1126387"/>
            <a:chOff x="0" y="0"/>
            <a:chExt cx="1876767" cy="1516352"/>
          </a:xfrm>
        </p:grpSpPr>
        <p:sp>
          <p:nvSpPr>
            <p:cNvPr id="56" name="Shape 18216">
              <a:extLst>
                <a:ext uri="{FF2B5EF4-FFF2-40B4-BE49-F238E27FC236}">
                  <a16:creationId xmlns:a16="http://schemas.microsoft.com/office/drawing/2014/main" id="{C10E1314-BB52-4754-8FD5-BFC6FAC5BF8F}"/>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rgbClr val="CB6534"/>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7" name="Shape 18217">
              <a:extLst>
                <a:ext uri="{FF2B5EF4-FFF2-40B4-BE49-F238E27FC236}">
                  <a16:creationId xmlns:a16="http://schemas.microsoft.com/office/drawing/2014/main" id="{750D54E2-1EC6-4E45-A51D-4151B56DB2C4}"/>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rgbClr val="F16924"/>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8" name="Shape 18218">
              <a:extLst>
                <a:ext uri="{FF2B5EF4-FFF2-40B4-BE49-F238E27FC236}">
                  <a16:creationId xmlns:a16="http://schemas.microsoft.com/office/drawing/2014/main" id="{4B9D9E84-54A6-4A37-B1EE-509B78760D4C}"/>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rgbClr val="F16924">
                <a:alpha val="86275"/>
              </a:srgb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sp>
        <p:nvSpPr>
          <p:cNvPr id="59" name="Shape 18237">
            <a:extLst>
              <a:ext uri="{FF2B5EF4-FFF2-40B4-BE49-F238E27FC236}">
                <a16:creationId xmlns:a16="http://schemas.microsoft.com/office/drawing/2014/main" id="{ABDBC586-6C74-47C1-B319-C5A633FE9027}"/>
              </a:ext>
            </a:extLst>
          </p:cNvPr>
          <p:cNvSpPr/>
          <p:nvPr/>
        </p:nvSpPr>
        <p:spPr>
          <a:xfrm>
            <a:off x="7328602" y="1938332"/>
            <a:ext cx="512690" cy="225300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0" name="Shape 18238">
            <a:extLst>
              <a:ext uri="{FF2B5EF4-FFF2-40B4-BE49-F238E27FC236}">
                <a16:creationId xmlns:a16="http://schemas.microsoft.com/office/drawing/2014/main" id="{3E848FBE-6B3E-4375-AA5E-4742D2C9BD07}"/>
              </a:ext>
            </a:extLst>
          </p:cNvPr>
          <p:cNvSpPr/>
          <p:nvPr/>
        </p:nvSpPr>
        <p:spPr>
          <a:xfrm>
            <a:off x="5692997" y="2920431"/>
            <a:ext cx="261733" cy="122154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1" name="Shape 18239">
            <a:extLst>
              <a:ext uri="{FF2B5EF4-FFF2-40B4-BE49-F238E27FC236}">
                <a16:creationId xmlns:a16="http://schemas.microsoft.com/office/drawing/2014/main" id="{CC099A26-59BE-4095-8AF0-CF6AA60C7769}"/>
              </a:ext>
            </a:extLst>
          </p:cNvPr>
          <p:cNvSpPr/>
          <p:nvPr/>
        </p:nvSpPr>
        <p:spPr>
          <a:xfrm>
            <a:off x="7131664" y="4812522"/>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2" name="Shape 18240">
            <a:extLst>
              <a:ext uri="{FF2B5EF4-FFF2-40B4-BE49-F238E27FC236}">
                <a16:creationId xmlns:a16="http://schemas.microsoft.com/office/drawing/2014/main" id="{A4285FE1-44ED-4EC3-AD33-3BA7BE064FFC}"/>
              </a:ext>
            </a:extLst>
          </p:cNvPr>
          <p:cNvSpPr/>
          <p:nvPr/>
        </p:nvSpPr>
        <p:spPr>
          <a:xfrm rot="5400000">
            <a:off x="9455287" y="2705211"/>
            <a:ext cx="200056" cy="54237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3" name="Shape 18241">
            <a:extLst>
              <a:ext uri="{FF2B5EF4-FFF2-40B4-BE49-F238E27FC236}">
                <a16:creationId xmlns:a16="http://schemas.microsoft.com/office/drawing/2014/main" id="{A3CBD44B-52F2-425F-9D77-20C67D23C2B1}"/>
              </a:ext>
            </a:extLst>
          </p:cNvPr>
          <p:cNvSpPr/>
          <p:nvPr/>
        </p:nvSpPr>
        <p:spPr>
          <a:xfrm>
            <a:off x="4253696" y="4034697"/>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4" name="TextBox 45">
            <a:extLst>
              <a:ext uri="{FF2B5EF4-FFF2-40B4-BE49-F238E27FC236}">
                <a16:creationId xmlns:a16="http://schemas.microsoft.com/office/drawing/2014/main" id="{BA7C80ED-39FD-4047-B6FD-0228E4A7E34C}"/>
              </a:ext>
            </a:extLst>
          </p:cNvPr>
          <p:cNvSpPr txBox="1"/>
          <p:nvPr/>
        </p:nvSpPr>
        <p:spPr>
          <a:xfrm>
            <a:off x="4043824" y="5593175"/>
            <a:ext cx="2751260" cy="505588"/>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Τα πρώτα σημάδια της κρίσης δεν γίνονται αντιληπτά ή δεν γίνονται αντιληπτά. </a:t>
            </a:r>
          </a:p>
        </p:txBody>
      </p:sp>
      <p:sp>
        <p:nvSpPr>
          <p:cNvPr id="65" name="TextBox 46">
            <a:extLst>
              <a:ext uri="{FF2B5EF4-FFF2-40B4-BE49-F238E27FC236}">
                <a16:creationId xmlns:a16="http://schemas.microsoft.com/office/drawing/2014/main" id="{2749A74C-C935-48E6-AE75-AC3262CC931E}"/>
              </a:ext>
            </a:extLst>
          </p:cNvPr>
          <p:cNvSpPr txBox="1"/>
          <p:nvPr/>
        </p:nvSpPr>
        <p:spPr>
          <a:xfrm>
            <a:off x="4026150" y="5222807"/>
            <a:ext cx="1630959" cy="400110"/>
          </a:xfrm>
          <a:prstGeom prst="rect">
            <a:avLst/>
          </a:prstGeom>
          <a:noFill/>
        </p:spPr>
        <p:txBody>
          <a:bodyPr wrap="none" rtlCol="0" anchor="t">
            <a:spAutoFit/>
          </a:bodyPr>
          <a:lstStyle/>
          <a:p>
            <a:r>
              <a:rPr lang="en-GB" sz="2000" b="1" dirty="0">
                <a:solidFill>
                  <a:schemeClr val="accent1"/>
                </a:solidFill>
                <a:latin typeface="Calibri" panose="020F0502020204030204" pitchFamily="34" charset="0"/>
                <a:ea typeface="Lato Light" panose="020F0502020204030203" pitchFamily="34" charset="0"/>
                <a:cs typeface="Calibri" panose="020F0502020204030204" pitchFamily="34" charset="0"/>
              </a:rPr>
              <a:t>01. Πρώτα σημάδια</a:t>
            </a:r>
          </a:p>
        </p:txBody>
      </p:sp>
      <p:sp>
        <p:nvSpPr>
          <p:cNvPr id="66" name="TextBox 49">
            <a:extLst>
              <a:ext uri="{FF2B5EF4-FFF2-40B4-BE49-F238E27FC236}">
                <a16:creationId xmlns:a16="http://schemas.microsoft.com/office/drawing/2014/main" id="{9A525032-471B-49A2-BBB0-295E6E782011}"/>
              </a:ext>
            </a:extLst>
          </p:cNvPr>
          <p:cNvSpPr txBox="1"/>
          <p:nvPr/>
        </p:nvSpPr>
        <p:spPr>
          <a:xfrm>
            <a:off x="4281620" y="2202918"/>
            <a:ext cx="2365406" cy="710772"/>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Η κρίση είναι ορατή, αλλά η διοίκηση επικεντρώνεται στην ελπίδα και όχι στη δράση.</a:t>
            </a:r>
          </a:p>
        </p:txBody>
      </p:sp>
      <p:sp>
        <p:nvSpPr>
          <p:cNvPr id="67" name="TextBox 50">
            <a:extLst>
              <a:ext uri="{FF2B5EF4-FFF2-40B4-BE49-F238E27FC236}">
                <a16:creationId xmlns:a16="http://schemas.microsoft.com/office/drawing/2014/main" id="{47B242CE-1D8C-4F10-9918-D4A5D3D8A4F7}"/>
              </a:ext>
            </a:extLst>
          </p:cNvPr>
          <p:cNvSpPr txBox="1"/>
          <p:nvPr/>
        </p:nvSpPr>
        <p:spPr>
          <a:xfrm>
            <a:off x="4190745" y="1803466"/>
            <a:ext cx="2576346" cy="400110"/>
          </a:xfrm>
          <a:prstGeom prst="rect">
            <a:avLst/>
          </a:prstGeom>
          <a:noFill/>
        </p:spPr>
        <p:txBody>
          <a:bodyPr wrap="none" rtlCol="0" anchor="t">
            <a:spAutoFit/>
          </a:bodyPr>
          <a:lstStyle/>
          <a:p>
            <a:r>
              <a:rPr lang="en-GB" sz="2000" b="1" dirty="0">
                <a:solidFill>
                  <a:srgbClr val="7F1C58"/>
                </a:solidFill>
                <a:latin typeface="Calibri" panose="020F0502020204030204" pitchFamily="34" charset="0"/>
                <a:ea typeface="Lato Light" panose="020F0502020204030203" pitchFamily="34" charset="0"/>
                <a:cs typeface="Calibri" panose="020F0502020204030204" pitchFamily="34" charset="0"/>
              </a:rPr>
              <a:t>02. Η αρχή της ελπίδας</a:t>
            </a:r>
          </a:p>
        </p:txBody>
      </p:sp>
      <p:sp>
        <p:nvSpPr>
          <p:cNvPr id="68" name="TextBox 52">
            <a:extLst>
              <a:ext uri="{FF2B5EF4-FFF2-40B4-BE49-F238E27FC236}">
                <a16:creationId xmlns:a16="http://schemas.microsoft.com/office/drawing/2014/main" id="{C830AAB0-F506-44AE-8094-9BF72F2E72DA}"/>
              </a:ext>
            </a:extLst>
          </p:cNvPr>
          <p:cNvSpPr txBox="1"/>
          <p:nvPr/>
        </p:nvSpPr>
        <p:spPr>
          <a:xfrm>
            <a:off x="7197988" y="632327"/>
            <a:ext cx="3107579" cy="1326325"/>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Εάν τα μέτρα που εφαρμόζονται είναι επιτυχή, τα πρώτα σημάδια χαλάρωσης αρχίζουν τώρα να εμφανίζονται. Ωστόσο, η αναδιάρθρωση πρέπει να συνεχίσει να εφαρμόζεται με συνέπεια.</a:t>
            </a:r>
          </a:p>
        </p:txBody>
      </p:sp>
      <p:sp>
        <p:nvSpPr>
          <p:cNvPr id="69" name="TextBox 53">
            <a:extLst>
              <a:ext uri="{FF2B5EF4-FFF2-40B4-BE49-F238E27FC236}">
                <a16:creationId xmlns:a16="http://schemas.microsoft.com/office/drawing/2014/main" id="{4002A5F3-B137-41F0-83F8-0223E2499480}"/>
              </a:ext>
            </a:extLst>
          </p:cNvPr>
          <p:cNvSpPr txBox="1"/>
          <p:nvPr/>
        </p:nvSpPr>
        <p:spPr>
          <a:xfrm>
            <a:off x="7156732" y="259397"/>
            <a:ext cx="2575000" cy="400110"/>
          </a:xfrm>
          <a:prstGeom prst="rect">
            <a:avLst/>
          </a:prstGeom>
          <a:noFill/>
        </p:spPr>
        <p:txBody>
          <a:bodyPr wrap="none" rtlCol="0" anchor="t">
            <a:spAutoFit/>
          </a:bodyPr>
          <a:lstStyle/>
          <a:p>
            <a:r>
              <a:rPr lang="en-GB" sz="2000" b="1" dirty="0">
                <a:solidFill>
                  <a:srgbClr val="F16924"/>
                </a:solidFill>
                <a:latin typeface="Calibri" panose="020F0502020204030204" pitchFamily="34" charset="0"/>
                <a:ea typeface="Lato Light" panose="020F0502020204030203" pitchFamily="34" charset="0"/>
                <a:cs typeface="Calibri" panose="020F0502020204030204" pitchFamily="34" charset="0"/>
              </a:rPr>
              <a:t>04. Σημάδια χαλάρωσης</a:t>
            </a:r>
          </a:p>
        </p:txBody>
      </p:sp>
      <p:sp>
        <p:nvSpPr>
          <p:cNvPr id="70" name="TextBox 55">
            <a:extLst>
              <a:ext uri="{FF2B5EF4-FFF2-40B4-BE49-F238E27FC236}">
                <a16:creationId xmlns:a16="http://schemas.microsoft.com/office/drawing/2014/main" id="{F3DF9B81-F896-4092-9719-93DF345475D4}"/>
              </a:ext>
            </a:extLst>
          </p:cNvPr>
          <p:cNvSpPr txBox="1"/>
          <p:nvPr/>
        </p:nvSpPr>
        <p:spPr>
          <a:xfrm>
            <a:off x="8039843" y="5347297"/>
            <a:ext cx="2573628" cy="1121141"/>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Η κρίση δεν μπορεί πλέον να αμφισβητηθεί. Τα μέτρα εφαρμόζονται υπό μεγάλη πίεση χρόνου. Αυτή είναι η πιο κρίσιμη φάση.</a:t>
            </a:r>
          </a:p>
        </p:txBody>
      </p:sp>
      <p:sp>
        <p:nvSpPr>
          <p:cNvPr id="71" name="TextBox 56">
            <a:extLst>
              <a:ext uri="{FF2B5EF4-FFF2-40B4-BE49-F238E27FC236}">
                <a16:creationId xmlns:a16="http://schemas.microsoft.com/office/drawing/2014/main" id="{539E5806-05BF-491C-BA0B-524CF021E7D6}"/>
              </a:ext>
            </a:extLst>
          </p:cNvPr>
          <p:cNvSpPr txBox="1"/>
          <p:nvPr/>
        </p:nvSpPr>
        <p:spPr>
          <a:xfrm>
            <a:off x="7837733" y="4989153"/>
            <a:ext cx="2199513" cy="400110"/>
          </a:xfrm>
          <a:prstGeom prst="rect">
            <a:avLst/>
          </a:prstGeom>
          <a:noFill/>
        </p:spPr>
        <p:txBody>
          <a:bodyPr wrap="none" rtlCol="0" anchor="t">
            <a:spAutoFit/>
          </a:bodyPr>
          <a:lstStyle/>
          <a:p>
            <a:r>
              <a:rPr lang="en-GB" sz="2000" b="1" dirty="0">
                <a:solidFill>
                  <a:srgbClr val="EDA13E"/>
                </a:solidFill>
                <a:latin typeface="Calibri" panose="020F0502020204030204" pitchFamily="34" charset="0"/>
                <a:ea typeface="Lato Light" panose="020F0502020204030203" pitchFamily="34" charset="0"/>
                <a:cs typeface="Calibri" panose="020F0502020204030204" pitchFamily="34" charset="0"/>
              </a:rPr>
              <a:t>03. Η αφύπνιση</a:t>
            </a:r>
          </a:p>
        </p:txBody>
      </p:sp>
      <p:sp>
        <p:nvSpPr>
          <p:cNvPr id="72" name="TextBox 58">
            <a:extLst>
              <a:ext uri="{FF2B5EF4-FFF2-40B4-BE49-F238E27FC236}">
                <a16:creationId xmlns:a16="http://schemas.microsoft.com/office/drawing/2014/main" id="{610355AA-909C-422D-A943-DF1F7CA205EE}"/>
              </a:ext>
            </a:extLst>
          </p:cNvPr>
          <p:cNvSpPr txBox="1"/>
          <p:nvPr/>
        </p:nvSpPr>
        <p:spPr>
          <a:xfrm>
            <a:off x="9783928" y="3285311"/>
            <a:ext cx="2341810" cy="1531510"/>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Εάν η κρίση ξεπεραστεί με επιτυχία, πρέπει να εξαχθούν τα σωστά συμπεράσματα. Εάν αυτό είναι επιτυχές, μπορεί να οδηγήσει σε βιώσιμη ανθεκτικότητα στην κρίση.</a:t>
            </a:r>
          </a:p>
        </p:txBody>
      </p:sp>
      <p:sp>
        <p:nvSpPr>
          <p:cNvPr id="73" name="TextBox 59">
            <a:extLst>
              <a:ext uri="{FF2B5EF4-FFF2-40B4-BE49-F238E27FC236}">
                <a16:creationId xmlns:a16="http://schemas.microsoft.com/office/drawing/2014/main" id="{4AF87715-6E8C-4277-A3C8-F9DC36BCAA90}"/>
              </a:ext>
            </a:extLst>
          </p:cNvPr>
          <p:cNvSpPr txBox="1"/>
          <p:nvPr/>
        </p:nvSpPr>
        <p:spPr>
          <a:xfrm>
            <a:off x="9819806" y="2600157"/>
            <a:ext cx="2139339" cy="735098"/>
          </a:xfrm>
          <a:prstGeom prst="rect">
            <a:avLst/>
          </a:prstGeom>
          <a:noFill/>
        </p:spPr>
        <p:txBody>
          <a:bodyPr wrap="square" rtlCol="0" anchor="t">
            <a:spAutoFit/>
          </a:bodyPr>
          <a:lstStyle/>
          <a:p>
            <a:r>
              <a:rPr lang="en-GB" sz="2000" b="1" dirty="0">
                <a:solidFill>
                  <a:srgbClr val="B41F7A"/>
                </a:solidFill>
                <a:latin typeface="Calibri" panose="020F0502020204030204" pitchFamily="34" charset="0"/>
                <a:ea typeface="Lato Light" panose="020F0502020204030203" pitchFamily="34" charset="0"/>
                <a:cs typeface="Calibri" panose="020F0502020204030204" pitchFamily="34" charset="0"/>
              </a:rPr>
              <a:t>05. Μάθηση + Ανθεκτικότητα</a:t>
            </a:r>
          </a:p>
        </p:txBody>
      </p:sp>
      <p:sp>
        <p:nvSpPr>
          <p:cNvPr id="8" name="Text Placeholder 1">
            <a:extLst>
              <a:ext uri="{FF2B5EF4-FFF2-40B4-BE49-F238E27FC236}">
                <a16:creationId xmlns:a16="http://schemas.microsoft.com/office/drawing/2014/main" id="{8AB623EC-F956-F48C-23E6-6CC931892D8B}"/>
              </a:ext>
            </a:extLst>
          </p:cNvPr>
          <p:cNvSpPr txBox="1">
            <a:spLocks/>
          </p:cNvSpPr>
          <p:nvPr/>
        </p:nvSpPr>
        <p:spPr>
          <a:xfrm>
            <a:off x="273886" y="472559"/>
            <a:ext cx="3425917" cy="309700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dirty="0">
                <a:solidFill>
                  <a:schemeClr val="bg1"/>
                </a:solidFill>
              </a:rPr>
              <a:t>Η </a:t>
            </a:r>
            <a:r>
              <a:rPr lang="en-IE" dirty="0" err="1">
                <a:solidFill>
                  <a:schemeClr val="bg1"/>
                </a:solidFill>
              </a:rPr>
              <a:t>δι</a:t>
            </a:r>
            <a:r>
              <a:rPr lang="en-IE" dirty="0">
                <a:solidFill>
                  <a:schemeClr val="bg1"/>
                </a:solidFill>
              </a:rPr>
              <a:t>αδικασία</a:t>
            </a:r>
            <a:r>
              <a:rPr lang="el-GR" dirty="0">
                <a:solidFill>
                  <a:schemeClr val="bg1"/>
                </a:solidFill>
              </a:rPr>
              <a:t> της</a:t>
            </a:r>
            <a:r>
              <a:rPr lang="en-IE" dirty="0">
                <a:solidFill>
                  <a:schemeClr val="bg1"/>
                </a:solidFill>
              </a:rPr>
              <a:t> αναγνώρισης</a:t>
            </a:r>
          </a:p>
        </p:txBody>
      </p:sp>
      <p:sp>
        <p:nvSpPr>
          <p:cNvPr id="9" name="Subtitle 2">
            <a:extLst>
              <a:ext uri="{FF2B5EF4-FFF2-40B4-BE49-F238E27FC236}">
                <a16:creationId xmlns:a16="http://schemas.microsoft.com/office/drawing/2014/main" id="{07D6984A-B61C-803C-A473-CC2EF7D50567}"/>
              </a:ext>
            </a:extLst>
          </p:cNvPr>
          <p:cNvSpPr txBox="1">
            <a:spLocks/>
          </p:cNvSpPr>
          <p:nvPr/>
        </p:nvSpPr>
        <p:spPr>
          <a:xfrm>
            <a:off x="285940" y="2038904"/>
            <a:ext cx="3076307" cy="375402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sz="2200" dirty="0">
                <a:solidFill>
                  <a:schemeClr val="bg1"/>
                </a:solidFill>
                <a:latin typeface="+mn-lt"/>
                <a:ea typeface="Open Sans Light" panose="020B0306030504020204" pitchFamily="34" charset="0"/>
                <a:cs typeface="Open Sans Light" panose="020B0306030504020204" pitchFamily="34" charset="0"/>
              </a:rPr>
              <a:t>Η επιτυχής διαχείριση κρίσεων εξαρτάται σε μεγάλο βαθμό από την ανοιχτότητα των εμπλεκομένων. Τα προειδοποιητικά σήματα πρέπει να αναγνωρίζονται και οι νέες προκλήσεις πρέπει να αντιμετωπίζονται ξανά και ξανά σε όλες τις φάσεις της κρίσης.</a:t>
            </a:r>
          </a:p>
          <a:p>
            <a:pPr algn="l">
              <a:lnSpc>
                <a:spcPts val="2240"/>
              </a:lnSpc>
              <a:spcBef>
                <a:spcPts val="0"/>
              </a:spcBef>
            </a:pPr>
            <a:endParaRPr lang="en-GB" sz="2200" dirty="0">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ts val="0"/>
              </a:spcBef>
            </a:pPr>
            <a:r>
              <a:rPr lang="en-GB" sz="2200" dirty="0">
                <a:solidFill>
                  <a:schemeClr val="bg1"/>
                </a:solidFill>
                <a:latin typeface="+mn-lt"/>
                <a:ea typeface="Open Sans Light" panose="020B0306030504020204" pitchFamily="34" charset="0"/>
                <a:cs typeface="Open Sans Light" panose="020B0306030504020204" pitchFamily="34" charset="0"/>
              </a:rPr>
              <a:t>Αυτό απαιτεί υψηλό βαθμό μεταβλητότητας και προσοχής.</a:t>
            </a:r>
          </a:p>
        </p:txBody>
      </p:sp>
      <p:sp>
        <p:nvSpPr>
          <p:cNvPr id="13" name="Rectangle 12">
            <a:extLst>
              <a:ext uri="{FF2B5EF4-FFF2-40B4-BE49-F238E27FC236}">
                <a16:creationId xmlns:a16="http://schemas.microsoft.com/office/drawing/2014/main" id="{BBACEB36-80C6-B2F5-FC73-38BE4375F090}"/>
              </a:ext>
            </a:extLst>
          </p:cNvPr>
          <p:cNvSpPr/>
          <p:nvPr/>
        </p:nvSpPr>
        <p:spPr>
          <a:xfrm>
            <a:off x="360441" y="1777829"/>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188043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1</a:t>
            </a:r>
            <a:r>
              <a:rPr lang="el-GR" sz="4000" dirty="0">
                <a:solidFill>
                  <a:schemeClr val="bg1"/>
                </a:solidFill>
              </a:rPr>
              <a:t>    </a:t>
            </a:r>
            <a:r>
              <a:rPr lang="en-US" sz="4000" dirty="0">
                <a:solidFill>
                  <a:schemeClr val="bg1"/>
                </a:solidFill>
              </a:rPr>
              <a:t> </a:t>
            </a:r>
            <a:r>
              <a:rPr lang="en-US" dirty="0">
                <a:solidFill>
                  <a:schemeClr val="bg1"/>
                </a:solidFill>
              </a:rPr>
              <a:t>Πρώτα σημάδια επιχειρηματικής κρίσης</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307878" y="2060185"/>
            <a:ext cx="9160221" cy="4578740"/>
          </a:xfrm>
        </p:spPr>
        <p:txBody>
          <a:bodyPr>
            <a:normAutofit fontScale="92500" lnSpcReduction="20000"/>
          </a:bodyPr>
          <a:lstStyle/>
          <a:p>
            <a:pPr marL="12700" indent="-12700"/>
            <a:r>
              <a:rPr lang="en-US" dirty="0"/>
              <a:t>Μια επιχειρηματική κρίση μπορεί να υφίσταται εδώ και πολύ καιρό προτού </a:t>
            </a:r>
            <a:r>
              <a:rPr lang="en-US" dirty="0" err="1"/>
              <a:t>αναγνωριστεί </a:t>
            </a:r>
            <a:r>
              <a:rPr lang="en-US" dirty="0"/>
              <a:t>ή αναγνωριστεί από τη διοίκηση. Σε πολλές περιπτώσεις, η αντιμετώπιση του προβλήματος είναι συχνά μια εξαιρετικά αγχωτική εμπειρία για όσους πρέπει να το αντιμετωπίσουν, οι οποίοι μπορεί να προσπαθούν να εξηγήσουν τα αναδυόμενα σημάδια της κρίσης. Ορισμένα από τα πρώιμα σημάδια είναι τα εξής:</a:t>
            </a:r>
          </a:p>
          <a:p>
            <a:pPr marL="342900" indent="-342900">
              <a:buClr>
                <a:srgbClr val="F16924"/>
              </a:buClr>
              <a:buFont typeface="Arial" panose="020B0604020202020204" pitchFamily="34" charset="0"/>
              <a:buChar char="•"/>
            </a:pPr>
            <a:r>
              <a:rPr lang="en-US" dirty="0"/>
              <a:t>Εξάρτηση από </a:t>
            </a:r>
            <a:r>
              <a:rPr lang="en-US" dirty="0" err="1"/>
              <a:t>το</a:t>
            </a:r>
            <a:r>
              <a:rPr lang="en-US" dirty="0"/>
              <a:t> χρέος</a:t>
            </a:r>
          </a:p>
          <a:p>
            <a:pPr marL="342900" indent="-342900">
              <a:buClr>
                <a:srgbClr val="F16924"/>
              </a:buClr>
              <a:buFont typeface="Arial" panose="020B0604020202020204" pitchFamily="34" charset="0"/>
              <a:buChar char="•"/>
            </a:pPr>
            <a:r>
              <a:rPr lang="en-US" dirty="0"/>
              <a:t>Πτώση των πωλήσεων ή των μετατροπών</a:t>
            </a:r>
          </a:p>
          <a:p>
            <a:pPr marL="342900" indent="-342900">
              <a:buClr>
                <a:srgbClr val="F16924"/>
              </a:buClr>
              <a:buFont typeface="Arial" panose="020B0604020202020204" pitchFamily="34" charset="0"/>
              <a:buChar char="•"/>
            </a:pPr>
            <a:r>
              <a:rPr lang="en-US" dirty="0"/>
              <a:t>Αρνητικοί αριθμοί στις λειτουργικές ταμειακές ροές</a:t>
            </a:r>
          </a:p>
          <a:p>
            <a:pPr marL="342900" indent="-342900">
              <a:buClr>
                <a:srgbClr val="F16924"/>
              </a:buClr>
              <a:buFont typeface="Arial" panose="020B0604020202020204" pitchFamily="34" charset="0"/>
              <a:buChar char="•"/>
            </a:pPr>
            <a:r>
              <a:rPr lang="en-US" dirty="0"/>
              <a:t>Ανεπαρκή λειτουργικά έσοδα για την πληρωμή των λειτουργικών δαπανών</a:t>
            </a:r>
          </a:p>
          <a:p>
            <a:pPr marL="12700" indent="-12700"/>
            <a:r>
              <a:rPr lang="en-US" dirty="0"/>
              <a:t>Το να αγνοείτε απλώς τα προειδοποιητικά σημάδια και να βάζετε το κεφάλι σας πιο βαθιά στην άμμο δεν πρόκειται να βοηθήσει καθόλου τα πράγματα. Στην πραγματικότητα, αυτό είναι μάλλον μια γρήγορη πορεία προς την αποτυχία! Επομένως, βεβαιωθείτε ότι εντοπίζετε τα προειδοποιητικά σημάδια όταν εμφανίζονται και ότι είστε σε θέση να δράσετε γρήγορα στις απαραίτητες λύσεις.</a:t>
            </a:r>
          </a:p>
          <a:p>
            <a:endParaRPr lang="en-US" dirty="0"/>
          </a:p>
          <a:p>
            <a:endParaRPr lang="en-US" dirty="0"/>
          </a:p>
          <a:p>
            <a:endParaRPr lang="en-US" dirty="0"/>
          </a:p>
          <a:p>
            <a:endParaRPr lang="en-US" dirty="0"/>
          </a:p>
          <a:p>
            <a:endParaRPr lang="en-US" dirty="0"/>
          </a:p>
          <a:p>
            <a:endParaRPr lang="en-US" dirty="0"/>
          </a:p>
          <a:p>
            <a:endParaRPr lang="en-US" dirty="0"/>
          </a:p>
        </p:txBody>
      </p:sp>
      <p:grpSp>
        <p:nvGrpSpPr>
          <p:cNvPr id="14" name="Group 13">
            <a:extLst>
              <a:ext uri="{FF2B5EF4-FFF2-40B4-BE49-F238E27FC236}">
                <a16:creationId xmlns:a16="http://schemas.microsoft.com/office/drawing/2014/main" id="{53D2578A-4FC9-B232-C6C1-A04988D60F5B}"/>
              </a:ext>
            </a:extLst>
          </p:cNvPr>
          <p:cNvGrpSpPr/>
          <p:nvPr/>
        </p:nvGrpSpPr>
        <p:grpSpPr>
          <a:xfrm>
            <a:off x="382118" y="2060185"/>
            <a:ext cx="1254125" cy="1256547"/>
            <a:chOff x="7284496" y="2127428"/>
            <a:chExt cx="2245645" cy="2249982"/>
          </a:xfrm>
          <a:solidFill>
            <a:srgbClr val="595959"/>
          </a:solidFill>
        </p:grpSpPr>
        <p:grpSp>
          <p:nvGrpSpPr>
            <p:cNvPr id="15" name="Graphic 3">
              <a:extLst>
                <a:ext uri="{FF2B5EF4-FFF2-40B4-BE49-F238E27FC236}">
                  <a16:creationId xmlns:a16="http://schemas.microsoft.com/office/drawing/2014/main" id="{88E756BF-3768-DEBA-1980-5AACA06A9A09}"/>
                </a:ext>
              </a:extLst>
            </p:cNvPr>
            <p:cNvGrpSpPr/>
            <p:nvPr/>
          </p:nvGrpSpPr>
          <p:grpSpPr>
            <a:xfrm>
              <a:off x="7284496" y="2127428"/>
              <a:ext cx="2245645" cy="2249982"/>
              <a:chOff x="5098317" y="2100784"/>
              <a:chExt cx="2245645" cy="2249982"/>
            </a:xfrm>
            <a:grpFill/>
          </p:grpSpPr>
          <p:sp>
            <p:nvSpPr>
              <p:cNvPr id="19" name="Freeform 18">
                <a:extLst>
                  <a:ext uri="{FF2B5EF4-FFF2-40B4-BE49-F238E27FC236}">
                    <a16:creationId xmlns:a16="http://schemas.microsoft.com/office/drawing/2014/main" id="{1258D1E7-CF83-968B-F69D-BB8335EFC834}"/>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FD97700-2BCB-3D3C-3F38-FAC58BB794B7}"/>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80712443-ECD1-1C71-E78D-01555880F88A}"/>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25D4299-A105-762A-8428-B4A9ECDFBA53}"/>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9703767C-F893-9891-0FAF-A381BFD3B7BB}"/>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324DF0FD-4DBE-0A40-4F92-F989A4B4049D}"/>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solidFill>
                <a:srgbClr val="F16924"/>
              </a:solidFill>
              <a:ln w="6040" cap="flat">
                <a:noFill/>
                <a:prstDash val="solid"/>
                <a:miter/>
              </a:ln>
            </p:spPr>
            <p:txBody>
              <a:bodyPr rtlCol="0" anchor="ctr"/>
              <a:lstStyle/>
              <a:p>
                <a:endParaRPr lang="en-US"/>
              </a:p>
            </p:txBody>
          </p:sp>
        </p:grpSp>
        <p:grpSp>
          <p:nvGrpSpPr>
            <p:cNvPr id="16" name="Graphic 3">
              <a:extLst>
                <a:ext uri="{FF2B5EF4-FFF2-40B4-BE49-F238E27FC236}">
                  <a16:creationId xmlns:a16="http://schemas.microsoft.com/office/drawing/2014/main" id="{3E993061-B25E-DBAB-77EE-C6C7A43FCF80}"/>
                </a:ext>
              </a:extLst>
            </p:cNvPr>
            <p:cNvGrpSpPr/>
            <p:nvPr/>
          </p:nvGrpSpPr>
          <p:grpSpPr>
            <a:xfrm>
              <a:off x="8878245" y="2200268"/>
              <a:ext cx="144167" cy="725714"/>
              <a:chOff x="6692066" y="2173624"/>
              <a:chExt cx="144167" cy="725714"/>
            </a:xfrm>
            <a:grpFill/>
          </p:grpSpPr>
          <p:sp>
            <p:nvSpPr>
              <p:cNvPr id="17" name="Freeform 16">
                <a:extLst>
                  <a:ext uri="{FF2B5EF4-FFF2-40B4-BE49-F238E27FC236}">
                    <a16:creationId xmlns:a16="http://schemas.microsoft.com/office/drawing/2014/main" id="{DE99F963-208C-4E08-F0CE-C9FB5D90186F}"/>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98F091C-6565-FA1B-4A61-9C94CF645565}"/>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819590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2 </a:t>
            </a:r>
            <a:r>
              <a:rPr lang="el-GR" sz="4000" dirty="0">
                <a:solidFill>
                  <a:schemeClr val="bg1"/>
                </a:solidFill>
              </a:rPr>
              <a:t>     </a:t>
            </a:r>
            <a:r>
              <a:rPr lang="en-US" dirty="0">
                <a:solidFill>
                  <a:schemeClr val="bg1"/>
                </a:solidFill>
              </a:rPr>
              <a:t>Η Αρχή της Ελπίδας</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9586108" cy="4255886"/>
          </a:xfrm>
        </p:spPr>
        <p:txBody>
          <a:bodyPr>
            <a:normAutofit/>
          </a:bodyPr>
          <a:lstStyle/>
          <a:p>
            <a:pPr marL="12700" indent="-12700" algn="just"/>
            <a:r>
              <a:rPr lang="en-US" dirty="0"/>
              <a:t>Οι διευθύνοντες σύμβουλοι και οι επιχειρηματίες είναι συνήθως γεμάτοι δημιουργικές ιδέες και πάθος, αλλά αυτό μπορεί δυστυχώς να οδηγήσει σε λανθασμένες υποθέσεις και νοοτροπίες. Η υπερβολική αυτοπεποίθηση γεννά ψεύτικες ελπίδες, οι οποίες γεννούν διογκωμένες προσδοκίες επιτυχίας. Συχνά οι επιχειρήσεις νανουρίζονται σε μια ψευδή αίσθηση ασφάλειας, η οποία έχει καταστροφικές συνέπειες την ώρα της κρίσης. Πρέπει να λαμβάνετε σοβαρά υπόψη τα προειδοποιητικά σημάδια μιας επιχείρησης που αποτυγχάνει, αντί να επιμένετε στην ελπίδα.</a:t>
            </a:r>
          </a:p>
        </p:txBody>
      </p:sp>
      <p:sp>
        <p:nvSpPr>
          <p:cNvPr id="2" name="TextBox 1">
            <a:extLst>
              <a:ext uri="{FF2B5EF4-FFF2-40B4-BE49-F238E27FC236}">
                <a16:creationId xmlns:a16="http://schemas.microsoft.com/office/drawing/2014/main" id="{81033F59-DF70-5AA2-D909-2AC1AAB63FA9}"/>
              </a:ext>
            </a:extLst>
          </p:cNvPr>
          <p:cNvSpPr txBox="1"/>
          <p:nvPr/>
        </p:nvSpPr>
        <p:spPr>
          <a:xfrm>
            <a:off x="2321371" y="4958543"/>
            <a:ext cx="8957141" cy="1415772"/>
          </a:xfrm>
          <a:prstGeom prst="rect">
            <a:avLst/>
          </a:prstGeom>
          <a:solidFill>
            <a:srgbClr val="F16924"/>
          </a:solidFill>
        </p:spPr>
        <p:txBody>
          <a:bodyPr wrap="square" anchor="ctr">
            <a:spAutoFit/>
          </a:bodyPr>
          <a:lstStyle/>
          <a:p>
            <a:pPr algn="ctr"/>
            <a:endParaRPr lang="en-GB" sz="1000" b="0" i="1" dirty="0">
              <a:solidFill>
                <a:schemeClr val="bg1"/>
              </a:solidFill>
              <a:effectLst/>
              <a:latin typeface="Calibri" panose="020F0502020204030204" pitchFamily="34" charset="0"/>
              <a:cs typeface="Calibri" panose="020F0502020204030204" pitchFamily="34" charset="0"/>
            </a:endParaRPr>
          </a:p>
          <a:p>
            <a:pPr algn="ctr"/>
            <a:r>
              <a:rPr lang="en-GB" sz="2000" b="0" i="1" dirty="0">
                <a:solidFill>
                  <a:schemeClr val="bg1"/>
                </a:solidFill>
                <a:effectLst/>
                <a:latin typeface="Calibri" panose="020F0502020204030204" pitchFamily="34" charset="0"/>
                <a:cs typeface="Calibri" panose="020F0502020204030204" pitchFamily="34" charset="0"/>
              </a:rPr>
              <a:t>"Θα με αφήσετε να φύγω για χάρη του Χριστού;                                                                                        Θα πάρεις αυτό το ψεύτικο όνειρο και θα το κάψεις πριν συμβεί κάτι;"</a:t>
            </a:r>
          </a:p>
          <a:p>
            <a:pPr algn="ctr"/>
            <a:r>
              <a:rPr lang="en-GB" b="1" i="0" dirty="0">
                <a:solidFill>
                  <a:schemeClr val="bg1"/>
                </a:solidFill>
                <a:effectLst/>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Άρθουρ Μίλερ, </a:t>
            </a:r>
            <a:r>
              <a:rPr lang="en-GB" b="1" i="0" u="none" strike="noStrike" dirty="0">
                <a:solidFill>
                  <a:schemeClr val="bg1"/>
                </a:solidFill>
                <a:effectLst/>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Ο </a:t>
            </a:r>
            <a:r>
              <a:rPr lang="en-GB" b="1" i="0" u="none" strike="noStrike" dirty="0" err="1">
                <a:solidFill>
                  <a:schemeClr val="bg1"/>
                </a:solidFill>
                <a:effectLst/>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θάν</a:t>
            </a:r>
            <a:r>
              <a:rPr lang="en-GB" b="1" i="0" u="none" strike="noStrike" dirty="0">
                <a:solidFill>
                  <a:schemeClr val="bg1"/>
                </a:solidFill>
                <a:effectLst/>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ατος </a:t>
            </a:r>
            <a:r>
              <a:rPr lang="el-GR" b="1" i="0" u="sng" strike="noStrike" dirty="0">
                <a:solidFill>
                  <a:schemeClr val="bg1"/>
                </a:solidFill>
                <a:effectLst/>
                <a:latin typeface="Calibri" panose="020F0502020204030204" pitchFamily="34" charset="0"/>
                <a:cs typeface="Calibri" panose="020F0502020204030204" pitchFamily="34" charset="0"/>
              </a:rPr>
              <a:t>του εμποράκου</a:t>
            </a:r>
            <a:endParaRPr lang="en-GB" b="1" i="0" u="sng" strike="noStrike" dirty="0">
              <a:solidFill>
                <a:schemeClr val="bg1"/>
              </a:solidFill>
              <a:effectLst/>
              <a:latin typeface="Calibri" panose="020F0502020204030204" pitchFamily="34" charset="0"/>
              <a:cs typeface="Calibri" panose="020F0502020204030204" pitchFamily="34" charset="0"/>
            </a:endParaRPr>
          </a:p>
          <a:p>
            <a:pPr algn="ctr"/>
            <a:endParaRPr lang="en-IE" dirty="0">
              <a:solidFill>
                <a:schemeClr val="bg1"/>
              </a:solidFill>
              <a:latin typeface="Calibri" panose="020F0502020204030204" pitchFamily="34" charset="0"/>
              <a:cs typeface="Calibri" panose="020F0502020204030204" pitchFamily="34" charset="0"/>
            </a:endParaRPr>
          </a:p>
        </p:txBody>
      </p:sp>
      <p:grpSp>
        <p:nvGrpSpPr>
          <p:cNvPr id="3" name="Graphic 3">
            <a:extLst>
              <a:ext uri="{FF2B5EF4-FFF2-40B4-BE49-F238E27FC236}">
                <a16:creationId xmlns:a16="http://schemas.microsoft.com/office/drawing/2014/main" id="{F3F0F0E0-32F8-DDCC-7C99-47B711DAEDF6}"/>
              </a:ext>
            </a:extLst>
          </p:cNvPr>
          <p:cNvGrpSpPr/>
          <p:nvPr/>
        </p:nvGrpSpPr>
        <p:grpSpPr>
          <a:xfrm>
            <a:off x="845321" y="1918123"/>
            <a:ext cx="1086136" cy="1037162"/>
            <a:chOff x="10407709" y="5371716"/>
            <a:chExt cx="1086136" cy="1037162"/>
          </a:xfrm>
          <a:solidFill>
            <a:srgbClr val="595959"/>
          </a:solidFill>
        </p:grpSpPr>
        <p:sp>
          <p:nvSpPr>
            <p:cNvPr id="5" name="Freeform 4">
              <a:extLst>
                <a:ext uri="{FF2B5EF4-FFF2-40B4-BE49-F238E27FC236}">
                  <a16:creationId xmlns:a16="http://schemas.microsoft.com/office/drawing/2014/main" id="{42D0A66A-2965-C7DA-7D9A-20708BAB2ACB}"/>
                </a:ext>
              </a:extLst>
            </p:cNvPr>
            <p:cNvSpPr/>
            <p:nvPr/>
          </p:nvSpPr>
          <p:spPr>
            <a:xfrm>
              <a:off x="11016927" y="5621447"/>
              <a:ext cx="177956" cy="194120"/>
            </a:xfrm>
            <a:custGeom>
              <a:avLst/>
              <a:gdLst>
                <a:gd name="connsiteX0" fmla="*/ 7905 w 177956"/>
                <a:gd name="connsiteY0" fmla="*/ 175795 h 194120"/>
                <a:gd name="connsiteX1" fmla="*/ 117615 w 177956"/>
                <a:gd name="connsiteY1" fmla="*/ 181281 h 194120"/>
                <a:gd name="connsiteX2" fmla="*/ 177956 w 177956"/>
                <a:gd name="connsiteY2" fmla="*/ 259 h 194120"/>
                <a:gd name="connsiteX3" fmla="*/ 18875 w 177956"/>
                <a:gd name="connsiteY3" fmla="*/ 52371 h 194120"/>
                <a:gd name="connsiteX4" fmla="*/ 7905 w 177956"/>
                <a:gd name="connsiteY4" fmla="*/ 175795 h 194120"/>
                <a:gd name="connsiteX5" fmla="*/ 7905 w 177956"/>
                <a:gd name="connsiteY5" fmla="*/ 175795 h 19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956" h="194120">
                  <a:moveTo>
                    <a:pt x="7905" y="175795"/>
                  </a:moveTo>
                  <a:cubicBezTo>
                    <a:pt x="54532" y="197738"/>
                    <a:pt x="92930" y="200480"/>
                    <a:pt x="117615" y="181281"/>
                  </a:cubicBezTo>
                  <a:cubicBezTo>
                    <a:pt x="166986" y="148368"/>
                    <a:pt x="177956" y="49628"/>
                    <a:pt x="177956" y="259"/>
                  </a:cubicBezTo>
                  <a:cubicBezTo>
                    <a:pt x="101158" y="-2484"/>
                    <a:pt x="46303" y="16715"/>
                    <a:pt x="18875" y="52371"/>
                  </a:cubicBezTo>
                  <a:cubicBezTo>
                    <a:pt x="-11294" y="96255"/>
                    <a:pt x="2419" y="156596"/>
                    <a:pt x="7905" y="175795"/>
                  </a:cubicBezTo>
                  <a:lnTo>
                    <a:pt x="7905" y="175795"/>
                  </a:lnTo>
                  <a:close/>
                </a:path>
              </a:pathLst>
            </a:custGeom>
            <a:solidFill>
              <a:srgbClr val="F16924"/>
            </a:solidFill>
            <a:ln w="27426"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6EFD660-B8DD-51FC-34C3-72CC5509D2B3}"/>
                </a:ext>
              </a:extLst>
            </p:cNvPr>
            <p:cNvSpPr/>
            <p:nvPr/>
          </p:nvSpPr>
          <p:spPr>
            <a:xfrm>
              <a:off x="10684499" y="5383085"/>
              <a:ext cx="218072" cy="198850"/>
            </a:xfrm>
            <a:custGeom>
              <a:avLst/>
              <a:gdLst>
                <a:gd name="connsiteX0" fmla="*/ 230 w 218072"/>
                <a:gd name="connsiteY0" fmla="*/ 0 h 198850"/>
                <a:gd name="connsiteX1" fmla="*/ 60571 w 218072"/>
                <a:gd name="connsiteY1" fmla="*/ 175537 h 198850"/>
                <a:gd name="connsiteX2" fmla="*/ 197709 w 218072"/>
                <a:gd name="connsiteY2" fmla="*/ 189251 h 198850"/>
                <a:gd name="connsiteX3" fmla="*/ 203194 w 218072"/>
                <a:gd name="connsiteY3" fmla="*/ 65827 h 198850"/>
                <a:gd name="connsiteX4" fmla="*/ 230 w 218072"/>
                <a:gd name="connsiteY4" fmla="*/ 0 h 198850"/>
                <a:gd name="connsiteX5" fmla="*/ 230 w 218072"/>
                <a:gd name="connsiteY5" fmla="*/ 0 h 19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072" h="198850">
                  <a:moveTo>
                    <a:pt x="230" y="0"/>
                  </a:moveTo>
                  <a:cubicBezTo>
                    <a:pt x="-2513" y="87769"/>
                    <a:pt x="19429" y="145367"/>
                    <a:pt x="60571" y="175537"/>
                  </a:cubicBezTo>
                  <a:cubicBezTo>
                    <a:pt x="109940" y="211193"/>
                    <a:pt x="175766" y="197479"/>
                    <a:pt x="197709" y="189251"/>
                  </a:cubicBezTo>
                  <a:cubicBezTo>
                    <a:pt x="222394" y="137138"/>
                    <a:pt x="225137" y="95997"/>
                    <a:pt x="203194" y="65827"/>
                  </a:cubicBezTo>
                  <a:cubicBezTo>
                    <a:pt x="164796" y="10972"/>
                    <a:pt x="55085" y="0"/>
                    <a:pt x="230" y="0"/>
                  </a:cubicBezTo>
                  <a:lnTo>
                    <a:pt x="230" y="0"/>
                  </a:lnTo>
                  <a:close/>
                </a:path>
              </a:pathLst>
            </a:custGeom>
            <a:solidFill>
              <a:srgbClr val="F16924"/>
            </a:solidFill>
            <a:ln w="27426" cap="flat">
              <a:noFill/>
              <a:prstDash val="solid"/>
              <a:miter/>
            </a:ln>
          </p:spPr>
          <p:txBody>
            <a:bodyPr rtlCol="0" anchor="ctr"/>
            <a:lstStyle/>
            <a:p>
              <a:endParaRPr lang="en-US"/>
            </a:p>
          </p:txBody>
        </p:sp>
        <p:grpSp>
          <p:nvGrpSpPr>
            <p:cNvPr id="11" name="Graphic 3">
              <a:extLst>
                <a:ext uri="{FF2B5EF4-FFF2-40B4-BE49-F238E27FC236}">
                  <a16:creationId xmlns:a16="http://schemas.microsoft.com/office/drawing/2014/main" id="{1E566430-D83F-9D9E-3C22-31C9F4C4607C}"/>
                </a:ext>
              </a:extLst>
            </p:cNvPr>
            <p:cNvGrpSpPr/>
            <p:nvPr/>
          </p:nvGrpSpPr>
          <p:grpSpPr>
            <a:xfrm>
              <a:off x="10407709" y="5371716"/>
              <a:ext cx="1086136" cy="1037162"/>
              <a:chOff x="10407709" y="5371716"/>
              <a:chExt cx="1086136" cy="1037162"/>
            </a:xfrm>
            <a:grpFill/>
          </p:grpSpPr>
          <p:grpSp>
            <p:nvGrpSpPr>
              <p:cNvPr id="12" name="Graphic 3">
                <a:extLst>
                  <a:ext uri="{FF2B5EF4-FFF2-40B4-BE49-F238E27FC236}">
                    <a16:creationId xmlns:a16="http://schemas.microsoft.com/office/drawing/2014/main" id="{A6D36FE6-CCEF-5B6B-8234-0082CC940F65}"/>
                  </a:ext>
                </a:extLst>
              </p:cNvPr>
              <p:cNvGrpSpPr/>
              <p:nvPr/>
            </p:nvGrpSpPr>
            <p:grpSpPr>
              <a:xfrm>
                <a:off x="10407709" y="5371716"/>
                <a:ext cx="1086136" cy="1037162"/>
                <a:chOff x="10407709" y="5371716"/>
                <a:chExt cx="1086136" cy="1037162"/>
              </a:xfrm>
              <a:grpFill/>
            </p:grpSpPr>
            <p:sp>
              <p:nvSpPr>
                <p:cNvPr id="26" name="Freeform 25">
                  <a:extLst>
                    <a:ext uri="{FF2B5EF4-FFF2-40B4-BE49-F238E27FC236}">
                      <a16:creationId xmlns:a16="http://schemas.microsoft.com/office/drawing/2014/main" id="{187CBDE6-2BD1-D5B5-B9E8-8E024F934B30}"/>
                    </a:ext>
                  </a:extLst>
                </p:cNvPr>
                <p:cNvSpPr/>
                <p:nvPr/>
              </p:nvSpPr>
              <p:spPr>
                <a:xfrm>
                  <a:off x="10407709" y="5876782"/>
                  <a:ext cx="1086136" cy="532096"/>
                </a:xfrm>
                <a:custGeom>
                  <a:avLst/>
                  <a:gdLst>
                    <a:gd name="connsiteX0" fmla="*/ 540326 w 1086136"/>
                    <a:gd name="connsiteY0" fmla="*/ 532097 h 532096"/>
                    <a:gd name="connsiteX1" fmla="*/ 430615 w 1086136"/>
                    <a:gd name="connsiteY1" fmla="*/ 510154 h 532096"/>
                    <a:gd name="connsiteX2" fmla="*/ 263306 w 1086136"/>
                    <a:gd name="connsiteY2" fmla="*/ 436100 h 532096"/>
                    <a:gd name="connsiteX3" fmla="*/ 71312 w 1086136"/>
                    <a:gd name="connsiteY3" fmla="*/ 386730 h 532096"/>
                    <a:gd name="connsiteX4" fmla="*/ 16457 w 1086136"/>
                    <a:gd name="connsiteY4" fmla="*/ 381245 h 532096"/>
                    <a:gd name="connsiteX5" fmla="*/ 0 w 1086136"/>
                    <a:gd name="connsiteY5" fmla="*/ 364788 h 532096"/>
                    <a:gd name="connsiteX6" fmla="*/ 0 w 1086136"/>
                    <a:gd name="connsiteY6" fmla="*/ 191993 h 532096"/>
                    <a:gd name="connsiteX7" fmla="*/ 2743 w 1086136"/>
                    <a:gd name="connsiteY7" fmla="*/ 181022 h 532096"/>
                    <a:gd name="connsiteX8" fmla="*/ 257820 w 1086136"/>
                    <a:gd name="connsiteY8" fmla="*/ 79541 h 532096"/>
                    <a:gd name="connsiteX9" fmla="*/ 452557 w 1086136"/>
                    <a:gd name="connsiteY9" fmla="*/ 159081 h 532096"/>
                    <a:gd name="connsiteX10" fmla="*/ 556782 w 1086136"/>
                    <a:gd name="connsiteY10" fmla="*/ 189251 h 532096"/>
                    <a:gd name="connsiteX11" fmla="*/ 724090 w 1086136"/>
                    <a:gd name="connsiteY11" fmla="*/ 189251 h 532096"/>
                    <a:gd name="connsiteX12" fmla="*/ 792660 w 1086136"/>
                    <a:gd name="connsiteY12" fmla="*/ 227650 h 532096"/>
                    <a:gd name="connsiteX13" fmla="*/ 938027 w 1086136"/>
                    <a:gd name="connsiteY13" fmla="*/ 60341 h 532096"/>
                    <a:gd name="connsiteX14" fmla="*/ 1058708 w 1086136"/>
                    <a:gd name="connsiteY14" fmla="*/ 0 h 532096"/>
                    <a:gd name="connsiteX15" fmla="*/ 1069679 w 1086136"/>
                    <a:gd name="connsiteY15" fmla="*/ 0 h 532096"/>
                    <a:gd name="connsiteX16" fmla="*/ 1083393 w 1086136"/>
                    <a:gd name="connsiteY16" fmla="*/ 8229 h 532096"/>
                    <a:gd name="connsiteX17" fmla="*/ 1086136 w 1086136"/>
                    <a:gd name="connsiteY17" fmla="*/ 24686 h 532096"/>
                    <a:gd name="connsiteX18" fmla="*/ 954484 w 1086136"/>
                    <a:gd name="connsiteY18" fmla="*/ 320904 h 532096"/>
                    <a:gd name="connsiteX19" fmla="*/ 798145 w 1086136"/>
                    <a:gd name="connsiteY19" fmla="*/ 452556 h 532096"/>
                    <a:gd name="connsiteX20" fmla="*/ 776204 w 1086136"/>
                    <a:gd name="connsiteY20" fmla="*/ 458042 h 532096"/>
                    <a:gd name="connsiteX21" fmla="*/ 641807 w 1086136"/>
                    <a:gd name="connsiteY21" fmla="*/ 512897 h 532096"/>
                    <a:gd name="connsiteX22" fmla="*/ 540326 w 1086136"/>
                    <a:gd name="connsiteY22" fmla="*/ 532097 h 532096"/>
                    <a:gd name="connsiteX23" fmla="*/ 540326 w 1086136"/>
                    <a:gd name="connsiteY23" fmla="*/ 532097 h 532096"/>
                    <a:gd name="connsiteX24" fmla="*/ 35656 w 1086136"/>
                    <a:gd name="connsiteY24" fmla="*/ 348331 h 532096"/>
                    <a:gd name="connsiteX25" fmla="*/ 74055 w 1086136"/>
                    <a:gd name="connsiteY25" fmla="*/ 351074 h 532096"/>
                    <a:gd name="connsiteX26" fmla="*/ 274277 w 1086136"/>
                    <a:gd name="connsiteY26" fmla="*/ 403186 h 532096"/>
                    <a:gd name="connsiteX27" fmla="*/ 441586 w 1086136"/>
                    <a:gd name="connsiteY27" fmla="*/ 477241 h 532096"/>
                    <a:gd name="connsiteX28" fmla="*/ 628094 w 1086136"/>
                    <a:gd name="connsiteY28" fmla="*/ 479983 h 532096"/>
                    <a:gd name="connsiteX29" fmla="*/ 762490 w 1086136"/>
                    <a:gd name="connsiteY29" fmla="*/ 425128 h 532096"/>
                    <a:gd name="connsiteX30" fmla="*/ 765232 w 1086136"/>
                    <a:gd name="connsiteY30" fmla="*/ 425128 h 532096"/>
                    <a:gd name="connsiteX31" fmla="*/ 789918 w 1086136"/>
                    <a:gd name="connsiteY31" fmla="*/ 419643 h 532096"/>
                    <a:gd name="connsiteX32" fmla="*/ 921570 w 1086136"/>
                    <a:gd name="connsiteY32" fmla="*/ 307190 h 532096"/>
                    <a:gd name="connsiteX33" fmla="*/ 1039509 w 1086136"/>
                    <a:gd name="connsiteY33" fmla="*/ 35656 h 532096"/>
                    <a:gd name="connsiteX34" fmla="*/ 962712 w 1086136"/>
                    <a:gd name="connsiteY34" fmla="*/ 82283 h 532096"/>
                    <a:gd name="connsiteX35" fmla="*/ 803631 w 1086136"/>
                    <a:gd name="connsiteY35" fmla="*/ 266048 h 532096"/>
                    <a:gd name="connsiteX36" fmla="*/ 803631 w 1086136"/>
                    <a:gd name="connsiteY36" fmla="*/ 268791 h 532096"/>
                    <a:gd name="connsiteX37" fmla="*/ 724090 w 1086136"/>
                    <a:gd name="connsiteY37" fmla="*/ 348331 h 532096"/>
                    <a:gd name="connsiteX38" fmla="*/ 490955 w 1086136"/>
                    <a:gd name="connsiteY38" fmla="*/ 348331 h 532096"/>
                    <a:gd name="connsiteX39" fmla="*/ 400444 w 1086136"/>
                    <a:gd name="connsiteY39" fmla="*/ 362045 h 532096"/>
                    <a:gd name="connsiteX40" fmla="*/ 394958 w 1086136"/>
                    <a:gd name="connsiteY40" fmla="*/ 345588 h 532096"/>
                    <a:gd name="connsiteX41" fmla="*/ 389473 w 1086136"/>
                    <a:gd name="connsiteY41" fmla="*/ 329131 h 532096"/>
                    <a:gd name="connsiteX42" fmla="*/ 389473 w 1086136"/>
                    <a:gd name="connsiteY42" fmla="*/ 329131 h 532096"/>
                    <a:gd name="connsiteX43" fmla="*/ 490955 w 1086136"/>
                    <a:gd name="connsiteY43" fmla="*/ 312676 h 532096"/>
                    <a:gd name="connsiteX44" fmla="*/ 724090 w 1086136"/>
                    <a:gd name="connsiteY44" fmla="*/ 312676 h 532096"/>
                    <a:gd name="connsiteX45" fmla="*/ 767975 w 1086136"/>
                    <a:gd name="connsiteY45" fmla="*/ 268791 h 532096"/>
                    <a:gd name="connsiteX46" fmla="*/ 724090 w 1086136"/>
                    <a:gd name="connsiteY46" fmla="*/ 224907 h 532096"/>
                    <a:gd name="connsiteX47" fmla="*/ 556782 w 1086136"/>
                    <a:gd name="connsiteY47" fmla="*/ 224907 h 532096"/>
                    <a:gd name="connsiteX48" fmla="*/ 433358 w 1086136"/>
                    <a:gd name="connsiteY48" fmla="*/ 189251 h 532096"/>
                    <a:gd name="connsiteX49" fmla="*/ 249592 w 1086136"/>
                    <a:gd name="connsiteY49" fmla="*/ 112453 h 532096"/>
                    <a:gd name="connsiteX50" fmla="*/ 35656 w 1086136"/>
                    <a:gd name="connsiteY50" fmla="*/ 194736 h 532096"/>
                    <a:gd name="connsiteX51" fmla="*/ 35656 w 1086136"/>
                    <a:gd name="connsiteY51" fmla="*/ 348331 h 532096"/>
                    <a:gd name="connsiteX52" fmla="*/ 35656 w 1086136"/>
                    <a:gd name="connsiteY52" fmla="*/ 348331 h 53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86136" h="532096">
                      <a:moveTo>
                        <a:pt x="540326" y="532097"/>
                      </a:moveTo>
                      <a:cubicBezTo>
                        <a:pt x="501927" y="532097"/>
                        <a:pt x="463528" y="523868"/>
                        <a:pt x="430615" y="510154"/>
                      </a:cubicBezTo>
                      <a:lnTo>
                        <a:pt x="263306" y="436100"/>
                      </a:lnTo>
                      <a:cubicBezTo>
                        <a:pt x="202965" y="408672"/>
                        <a:pt x="137138" y="392216"/>
                        <a:pt x="71312" y="386730"/>
                      </a:cubicBezTo>
                      <a:lnTo>
                        <a:pt x="16457" y="381245"/>
                      </a:lnTo>
                      <a:cubicBezTo>
                        <a:pt x="8229" y="381245"/>
                        <a:pt x="0" y="373016"/>
                        <a:pt x="0" y="364788"/>
                      </a:cubicBezTo>
                      <a:lnTo>
                        <a:pt x="0" y="191993"/>
                      </a:lnTo>
                      <a:cubicBezTo>
                        <a:pt x="0" y="189251"/>
                        <a:pt x="0" y="183765"/>
                        <a:pt x="2743" y="181022"/>
                      </a:cubicBezTo>
                      <a:cubicBezTo>
                        <a:pt x="8229" y="175537"/>
                        <a:pt x="106968" y="46627"/>
                        <a:pt x="257820" y="79541"/>
                      </a:cubicBezTo>
                      <a:cubicBezTo>
                        <a:pt x="342846" y="98740"/>
                        <a:pt x="411415" y="134396"/>
                        <a:pt x="452557" y="159081"/>
                      </a:cubicBezTo>
                      <a:cubicBezTo>
                        <a:pt x="482727" y="178280"/>
                        <a:pt x="518383" y="189251"/>
                        <a:pt x="556782" y="189251"/>
                      </a:cubicBezTo>
                      <a:lnTo>
                        <a:pt x="724090" y="189251"/>
                      </a:lnTo>
                      <a:cubicBezTo>
                        <a:pt x="754261" y="189251"/>
                        <a:pt x="778946" y="205707"/>
                        <a:pt x="792660" y="227650"/>
                      </a:cubicBezTo>
                      <a:lnTo>
                        <a:pt x="938027" y="60341"/>
                      </a:lnTo>
                      <a:cubicBezTo>
                        <a:pt x="965454" y="21943"/>
                        <a:pt x="1012081" y="0"/>
                        <a:pt x="1058708" y="0"/>
                      </a:cubicBezTo>
                      <a:lnTo>
                        <a:pt x="1069679" y="0"/>
                      </a:lnTo>
                      <a:cubicBezTo>
                        <a:pt x="1075165" y="0"/>
                        <a:pt x="1080650" y="2743"/>
                        <a:pt x="1083393" y="8229"/>
                      </a:cubicBezTo>
                      <a:cubicBezTo>
                        <a:pt x="1086136" y="13714"/>
                        <a:pt x="1086136" y="19200"/>
                        <a:pt x="1086136" y="24686"/>
                      </a:cubicBezTo>
                      <a:lnTo>
                        <a:pt x="954484" y="320904"/>
                      </a:lnTo>
                      <a:cubicBezTo>
                        <a:pt x="927056" y="386730"/>
                        <a:pt x="866715" y="436100"/>
                        <a:pt x="798145" y="452556"/>
                      </a:cubicBezTo>
                      <a:lnTo>
                        <a:pt x="776204" y="458042"/>
                      </a:lnTo>
                      <a:lnTo>
                        <a:pt x="641807" y="512897"/>
                      </a:lnTo>
                      <a:cubicBezTo>
                        <a:pt x="608895" y="526611"/>
                        <a:pt x="575981" y="532097"/>
                        <a:pt x="540326" y="532097"/>
                      </a:cubicBezTo>
                      <a:lnTo>
                        <a:pt x="540326" y="532097"/>
                      </a:lnTo>
                      <a:close/>
                      <a:moveTo>
                        <a:pt x="35656" y="348331"/>
                      </a:moveTo>
                      <a:lnTo>
                        <a:pt x="74055" y="351074"/>
                      </a:lnTo>
                      <a:cubicBezTo>
                        <a:pt x="142624" y="359302"/>
                        <a:pt x="211193" y="375759"/>
                        <a:pt x="274277" y="403186"/>
                      </a:cubicBezTo>
                      <a:lnTo>
                        <a:pt x="441586" y="477241"/>
                      </a:lnTo>
                      <a:cubicBezTo>
                        <a:pt x="501927" y="501926"/>
                        <a:pt x="567753" y="504669"/>
                        <a:pt x="628094" y="479983"/>
                      </a:cubicBezTo>
                      <a:lnTo>
                        <a:pt x="762490" y="425128"/>
                      </a:lnTo>
                      <a:cubicBezTo>
                        <a:pt x="762490" y="425128"/>
                        <a:pt x="765232" y="425128"/>
                        <a:pt x="765232" y="425128"/>
                      </a:cubicBezTo>
                      <a:lnTo>
                        <a:pt x="789918" y="419643"/>
                      </a:lnTo>
                      <a:cubicBezTo>
                        <a:pt x="847515" y="405929"/>
                        <a:pt x="896885" y="364788"/>
                        <a:pt x="921570" y="307190"/>
                      </a:cubicBezTo>
                      <a:lnTo>
                        <a:pt x="1039509" y="35656"/>
                      </a:lnTo>
                      <a:cubicBezTo>
                        <a:pt x="1009339" y="41141"/>
                        <a:pt x="981911" y="57598"/>
                        <a:pt x="962712" y="82283"/>
                      </a:cubicBezTo>
                      <a:lnTo>
                        <a:pt x="803631" y="266048"/>
                      </a:lnTo>
                      <a:cubicBezTo>
                        <a:pt x="803631" y="266048"/>
                        <a:pt x="803631" y="268791"/>
                        <a:pt x="803631" y="268791"/>
                      </a:cubicBezTo>
                      <a:cubicBezTo>
                        <a:pt x="803631" y="312676"/>
                        <a:pt x="767975" y="348331"/>
                        <a:pt x="724090" y="348331"/>
                      </a:cubicBezTo>
                      <a:lnTo>
                        <a:pt x="490955" y="348331"/>
                      </a:lnTo>
                      <a:cubicBezTo>
                        <a:pt x="460785" y="348331"/>
                        <a:pt x="430615" y="353817"/>
                        <a:pt x="400444" y="362045"/>
                      </a:cubicBezTo>
                      <a:lnTo>
                        <a:pt x="394958" y="345588"/>
                      </a:lnTo>
                      <a:lnTo>
                        <a:pt x="389473" y="329131"/>
                      </a:lnTo>
                      <a:lnTo>
                        <a:pt x="389473" y="329131"/>
                      </a:lnTo>
                      <a:cubicBezTo>
                        <a:pt x="422386" y="318161"/>
                        <a:pt x="455300" y="312676"/>
                        <a:pt x="490955" y="312676"/>
                      </a:cubicBezTo>
                      <a:lnTo>
                        <a:pt x="724090" y="312676"/>
                      </a:lnTo>
                      <a:cubicBezTo>
                        <a:pt x="748776" y="312676"/>
                        <a:pt x="767975" y="293476"/>
                        <a:pt x="767975" y="268791"/>
                      </a:cubicBezTo>
                      <a:cubicBezTo>
                        <a:pt x="767975" y="244107"/>
                        <a:pt x="748776" y="224907"/>
                        <a:pt x="724090" y="224907"/>
                      </a:cubicBezTo>
                      <a:lnTo>
                        <a:pt x="556782" y="224907"/>
                      </a:lnTo>
                      <a:cubicBezTo>
                        <a:pt x="512898" y="224907"/>
                        <a:pt x="469013" y="213936"/>
                        <a:pt x="433358" y="189251"/>
                      </a:cubicBezTo>
                      <a:cubicBezTo>
                        <a:pt x="392216" y="164566"/>
                        <a:pt x="329132" y="131653"/>
                        <a:pt x="249592" y="112453"/>
                      </a:cubicBezTo>
                      <a:cubicBezTo>
                        <a:pt x="134395" y="87769"/>
                        <a:pt x="52112" y="175537"/>
                        <a:pt x="35656" y="194736"/>
                      </a:cubicBezTo>
                      <a:lnTo>
                        <a:pt x="35656" y="348331"/>
                      </a:lnTo>
                      <a:lnTo>
                        <a:pt x="35656" y="348331"/>
                      </a:lnTo>
                      <a:close/>
                    </a:path>
                  </a:pathLst>
                </a:custGeom>
                <a:grpFill/>
                <a:ln w="27426"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F0A410CA-C542-B442-9AB2-027BE45F8D68}"/>
                    </a:ext>
                  </a:extLst>
                </p:cNvPr>
                <p:cNvSpPr/>
                <p:nvPr/>
              </p:nvSpPr>
              <p:spPr>
                <a:xfrm>
                  <a:off x="10994886" y="5609912"/>
                  <a:ext cx="249584" cy="264128"/>
                </a:xfrm>
                <a:custGeom>
                  <a:avLst/>
                  <a:gdLst>
                    <a:gd name="connsiteX0" fmla="*/ 109486 w 249584"/>
                    <a:gd name="connsiteY0" fmla="*/ 264128 h 264128"/>
                    <a:gd name="connsiteX1" fmla="*/ 18975 w 249584"/>
                    <a:gd name="connsiteY1" fmla="*/ 239443 h 264128"/>
                    <a:gd name="connsiteX2" fmla="*/ 10747 w 249584"/>
                    <a:gd name="connsiteY2" fmla="*/ 228472 h 264128"/>
                    <a:gd name="connsiteX3" fmla="*/ 27203 w 249584"/>
                    <a:gd name="connsiteY3" fmla="*/ 66649 h 264128"/>
                    <a:gd name="connsiteX4" fmla="*/ 232911 w 249584"/>
                    <a:gd name="connsiteY4" fmla="*/ 823 h 264128"/>
                    <a:gd name="connsiteX5" fmla="*/ 249368 w 249584"/>
                    <a:gd name="connsiteY5" fmla="*/ 17280 h 264128"/>
                    <a:gd name="connsiteX6" fmla="*/ 172571 w 249584"/>
                    <a:gd name="connsiteY6" fmla="*/ 244929 h 264128"/>
                    <a:gd name="connsiteX7" fmla="*/ 109486 w 249584"/>
                    <a:gd name="connsiteY7" fmla="*/ 264128 h 264128"/>
                    <a:gd name="connsiteX8" fmla="*/ 109486 w 249584"/>
                    <a:gd name="connsiteY8" fmla="*/ 264128 h 264128"/>
                    <a:gd name="connsiteX9" fmla="*/ 40917 w 249584"/>
                    <a:gd name="connsiteY9" fmla="*/ 209273 h 264128"/>
                    <a:gd name="connsiteX10" fmla="*/ 150628 w 249584"/>
                    <a:gd name="connsiteY10" fmla="*/ 214758 h 264128"/>
                    <a:gd name="connsiteX11" fmla="*/ 210969 w 249584"/>
                    <a:gd name="connsiteY11" fmla="*/ 33736 h 264128"/>
                    <a:gd name="connsiteX12" fmla="*/ 51889 w 249584"/>
                    <a:gd name="connsiteY12" fmla="*/ 85849 h 264128"/>
                    <a:gd name="connsiteX13" fmla="*/ 40917 w 249584"/>
                    <a:gd name="connsiteY13" fmla="*/ 209273 h 264128"/>
                    <a:gd name="connsiteX14" fmla="*/ 40917 w 249584"/>
                    <a:gd name="connsiteY14" fmla="*/ 209273 h 264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584" h="264128">
                      <a:moveTo>
                        <a:pt x="109486" y="264128"/>
                      </a:moveTo>
                      <a:cubicBezTo>
                        <a:pt x="82059" y="264128"/>
                        <a:pt x="51889" y="255899"/>
                        <a:pt x="18975" y="239443"/>
                      </a:cubicBezTo>
                      <a:cubicBezTo>
                        <a:pt x="16232" y="236701"/>
                        <a:pt x="10747" y="233958"/>
                        <a:pt x="10747" y="228472"/>
                      </a:cubicBezTo>
                      <a:cubicBezTo>
                        <a:pt x="10747" y="225729"/>
                        <a:pt x="-22166" y="132475"/>
                        <a:pt x="27203" y="66649"/>
                      </a:cubicBezTo>
                      <a:cubicBezTo>
                        <a:pt x="62860" y="17280"/>
                        <a:pt x="131429" y="-4663"/>
                        <a:pt x="232911" y="823"/>
                      </a:cubicBezTo>
                      <a:cubicBezTo>
                        <a:pt x="241140" y="823"/>
                        <a:pt x="249368" y="9051"/>
                        <a:pt x="249368" y="17280"/>
                      </a:cubicBezTo>
                      <a:cubicBezTo>
                        <a:pt x="249368" y="25508"/>
                        <a:pt x="257597" y="190073"/>
                        <a:pt x="172571" y="244929"/>
                      </a:cubicBezTo>
                      <a:cubicBezTo>
                        <a:pt x="153371" y="258642"/>
                        <a:pt x="134172" y="264128"/>
                        <a:pt x="109486" y="264128"/>
                      </a:cubicBezTo>
                      <a:lnTo>
                        <a:pt x="109486" y="264128"/>
                      </a:lnTo>
                      <a:close/>
                      <a:moveTo>
                        <a:pt x="40917" y="209273"/>
                      </a:moveTo>
                      <a:cubicBezTo>
                        <a:pt x="87545" y="231215"/>
                        <a:pt x="125943" y="233958"/>
                        <a:pt x="150628" y="214758"/>
                      </a:cubicBezTo>
                      <a:cubicBezTo>
                        <a:pt x="199998" y="181845"/>
                        <a:pt x="210969" y="83106"/>
                        <a:pt x="210969" y="33736"/>
                      </a:cubicBezTo>
                      <a:cubicBezTo>
                        <a:pt x="134172" y="30993"/>
                        <a:pt x="79317" y="50192"/>
                        <a:pt x="51889" y="85849"/>
                      </a:cubicBezTo>
                      <a:cubicBezTo>
                        <a:pt x="24461" y="129732"/>
                        <a:pt x="35432" y="190073"/>
                        <a:pt x="40917" y="209273"/>
                      </a:cubicBezTo>
                      <a:lnTo>
                        <a:pt x="40917" y="209273"/>
                      </a:ln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0998A847-48A1-F443-EB7D-EE67E59994D4}"/>
                    </a:ext>
                  </a:extLst>
                </p:cNvPr>
                <p:cNvSpPr/>
                <p:nvPr/>
              </p:nvSpPr>
              <p:spPr>
                <a:xfrm>
                  <a:off x="10659296" y="5371716"/>
                  <a:ext cx="286439" cy="269189"/>
                </a:xfrm>
                <a:custGeom>
                  <a:avLst/>
                  <a:gdLst>
                    <a:gd name="connsiteX0" fmla="*/ 173542 w 286439"/>
                    <a:gd name="connsiteY0" fmla="*/ 269189 h 269189"/>
                    <a:gd name="connsiteX1" fmla="*/ 74802 w 286439"/>
                    <a:gd name="connsiteY1" fmla="*/ 239019 h 269189"/>
                    <a:gd name="connsiteX2" fmla="*/ 748 w 286439"/>
                    <a:gd name="connsiteY2" fmla="*/ 16855 h 269189"/>
                    <a:gd name="connsiteX3" fmla="*/ 17205 w 286439"/>
                    <a:gd name="connsiteY3" fmla="*/ 398 h 269189"/>
                    <a:gd name="connsiteX4" fmla="*/ 266796 w 286439"/>
                    <a:gd name="connsiteY4" fmla="*/ 82681 h 269189"/>
                    <a:gd name="connsiteX5" fmla="*/ 258568 w 286439"/>
                    <a:gd name="connsiteY5" fmla="*/ 249990 h 269189"/>
                    <a:gd name="connsiteX6" fmla="*/ 247597 w 286439"/>
                    <a:gd name="connsiteY6" fmla="*/ 258218 h 269189"/>
                    <a:gd name="connsiteX7" fmla="*/ 173542 w 286439"/>
                    <a:gd name="connsiteY7" fmla="*/ 269189 h 269189"/>
                    <a:gd name="connsiteX8" fmla="*/ 173542 w 286439"/>
                    <a:gd name="connsiteY8" fmla="*/ 269189 h 269189"/>
                    <a:gd name="connsiteX9" fmla="*/ 244854 w 286439"/>
                    <a:gd name="connsiteY9" fmla="*/ 239019 h 269189"/>
                    <a:gd name="connsiteX10" fmla="*/ 244854 w 286439"/>
                    <a:gd name="connsiteY10" fmla="*/ 239019 h 269189"/>
                    <a:gd name="connsiteX11" fmla="*/ 244854 w 286439"/>
                    <a:gd name="connsiteY11" fmla="*/ 239019 h 269189"/>
                    <a:gd name="connsiteX12" fmla="*/ 36404 w 286439"/>
                    <a:gd name="connsiteY12" fmla="*/ 36054 h 269189"/>
                    <a:gd name="connsiteX13" fmla="*/ 96745 w 286439"/>
                    <a:gd name="connsiteY13" fmla="*/ 211591 h 269189"/>
                    <a:gd name="connsiteX14" fmla="*/ 233883 w 286439"/>
                    <a:gd name="connsiteY14" fmla="*/ 225305 h 269189"/>
                    <a:gd name="connsiteX15" fmla="*/ 239368 w 286439"/>
                    <a:gd name="connsiteY15" fmla="*/ 101881 h 269189"/>
                    <a:gd name="connsiteX16" fmla="*/ 36404 w 286439"/>
                    <a:gd name="connsiteY16" fmla="*/ 36054 h 269189"/>
                    <a:gd name="connsiteX17" fmla="*/ 36404 w 286439"/>
                    <a:gd name="connsiteY17" fmla="*/ 36054 h 26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6439" h="269189">
                      <a:moveTo>
                        <a:pt x="173542" y="269189"/>
                      </a:moveTo>
                      <a:cubicBezTo>
                        <a:pt x="143372" y="269189"/>
                        <a:pt x="104973" y="263703"/>
                        <a:pt x="74802" y="239019"/>
                      </a:cubicBezTo>
                      <a:cubicBezTo>
                        <a:pt x="19947" y="200620"/>
                        <a:pt x="-4738" y="123822"/>
                        <a:pt x="748" y="16855"/>
                      </a:cubicBezTo>
                      <a:cubicBezTo>
                        <a:pt x="748" y="8627"/>
                        <a:pt x="8976" y="398"/>
                        <a:pt x="17205" y="398"/>
                      </a:cubicBezTo>
                      <a:cubicBezTo>
                        <a:pt x="25433" y="398"/>
                        <a:pt x="206456" y="-10573"/>
                        <a:pt x="266796" y="82681"/>
                      </a:cubicBezTo>
                      <a:cubicBezTo>
                        <a:pt x="294224" y="126565"/>
                        <a:pt x="294224" y="181421"/>
                        <a:pt x="258568" y="249990"/>
                      </a:cubicBezTo>
                      <a:cubicBezTo>
                        <a:pt x="255825" y="252732"/>
                        <a:pt x="253082" y="258218"/>
                        <a:pt x="247597" y="258218"/>
                      </a:cubicBezTo>
                      <a:cubicBezTo>
                        <a:pt x="250340" y="258218"/>
                        <a:pt x="217427" y="269189"/>
                        <a:pt x="173542" y="269189"/>
                      </a:cubicBezTo>
                      <a:lnTo>
                        <a:pt x="173542" y="269189"/>
                      </a:lnTo>
                      <a:close/>
                      <a:moveTo>
                        <a:pt x="244854" y="239019"/>
                      </a:moveTo>
                      <a:lnTo>
                        <a:pt x="244854" y="239019"/>
                      </a:lnTo>
                      <a:lnTo>
                        <a:pt x="244854" y="239019"/>
                      </a:lnTo>
                      <a:close/>
                      <a:moveTo>
                        <a:pt x="36404" y="36054"/>
                      </a:moveTo>
                      <a:cubicBezTo>
                        <a:pt x="33661" y="123822"/>
                        <a:pt x="55603" y="181421"/>
                        <a:pt x="96745" y="211591"/>
                      </a:cubicBezTo>
                      <a:cubicBezTo>
                        <a:pt x="146114" y="247247"/>
                        <a:pt x="211941" y="233533"/>
                        <a:pt x="233883" y="225305"/>
                      </a:cubicBezTo>
                      <a:cubicBezTo>
                        <a:pt x="258568" y="173193"/>
                        <a:pt x="261311" y="132051"/>
                        <a:pt x="239368" y="101881"/>
                      </a:cubicBezTo>
                      <a:cubicBezTo>
                        <a:pt x="200970" y="44282"/>
                        <a:pt x="94002" y="33312"/>
                        <a:pt x="36404" y="36054"/>
                      </a:cubicBezTo>
                      <a:lnTo>
                        <a:pt x="36404" y="36054"/>
                      </a:lnTo>
                      <a:close/>
                    </a:path>
                  </a:pathLst>
                </a:custGeom>
                <a:grpFill/>
                <a:ln w="27426" cap="flat">
                  <a:noFill/>
                  <a:prstDash val="solid"/>
                  <a:miter/>
                </a:ln>
              </p:spPr>
              <p:txBody>
                <a:bodyPr rtlCol="0" anchor="ctr"/>
                <a:lstStyle/>
                <a:p>
                  <a:endParaRPr lang="en-US"/>
                </a:p>
              </p:txBody>
            </p:sp>
          </p:grpSp>
          <p:sp>
            <p:nvSpPr>
              <p:cNvPr id="25" name="Freeform 24">
                <a:extLst>
                  <a:ext uri="{FF2B5EF4-FFF2-40B4-BE49-F238E27FC236}">
                    <a16:creationId xmlns:a16="http://schemas.microsoft.com/office/drawing/2014/main" id="{32A28D2E-A3A3-AAC3-DA80-298540B0DCFC}"/>
                  </a:ext>
                </a:extLst>
              </p:cNvPr>
              <p:cNvSpPr/>
              <p:nvPr/>
            </p:nvSpPr>
            <p:spPr>
              <a:xfrm>
                <a:off x="10770290" y="5482359"/>
                <a:ext cx="386306" cy="613843"/>
              </a:xfrm>
              <a:custGeom>
                <a:avLst/>
                <a:gdLst>
                  <a:gd name="connsiteX0" fmla="*/ 202430 w 386306"/>
                  <a:gd name="connsiteY0" fmla="*/ 613844 h 613843"/>
                  <a:gd name="connsiteX1" fmla="*/ 202430 w 386306"/>
                  <a:gd name="connsiteY1" fmla="*/ 613844 h 613843"/>
                  <a:gd name="connsiteX2" fmla="*/ 185973 w 386306"/>
                  <a:gd name="connsiteY2" fmla="*/ 594645 h 613843"/>
                  <a:gd name="connsiteX3" fmla="*/ 191459 w 386306"/>
                  <a:gd name="connsiteY3" fmla="*/ 534304 h 613843"/>
                  <a:gd name="connsiteX4" fmla="*/ 10436 w 386306"/>
                  <a:gd name="connsiteY4" fmla="*/ 35122 h 613843"/>
                  <a:gd name="connsiteX5" fmla="*/ 2208 w 386306"/>
                  <a:gd name="connsiteY5" fmla="*/ 10436 h 613843"/>
                  <a:gd name="connsiteX6" fmla="*/ 26893 w 386306"/>
                  <a:gd name="connsiteY6" fmla="*/ 2208 h 613843"/>
                  <a:gd name="connsiteX7" fmla="*/ 224372 w 386306"/>
                  <a:gd name="connsiteY7" fmla="*/ 345054 h 613843"/>
                  <a:gd name="connsiteX8" fmla="*/ 229858 w 386306"/>
                  <a:gd name="connsiteY8" fmla="*/ 391681 h 613843"/>
                  <a:gd name="connsiteX9" fmla="*/ 358768 w 386306"/>
                  <a:gd name="connsiteY9" fmla="*/ 221629 h 613843"/>
                  <a:gd name="connsiteX10" fmla="*/ 383453 w 386306"/>
                  <a:gd name="connsiteY10" fmla="*/ 227115 h 613843"/>
                  <a:gd name="connsiteX11" fmla="*/ 377967 w 386306"/>
                  <a:gd name="connsiteY11" fmla="*/ 251800 h 613843"/>
                  <a:gd name="connsiteX12" fmla="*/ 232601 w 386306"/>
                  <a:gd name="connsiteY12" fmla="*/ 531561 h 613843"/>
                  <a:gd name="connsiteX13" fmla="*/ 227115 w 386306"/>
                  <a:gd name="connsiteY13" fmla="*/ 591902 h 613843"/>
                  <a:gd name="connsiteX14" fmla="*/ 202430 w 386306"/>
                  <a:gd name="connsiteY14" fmla="*/ 613844 h 613843"/>
                  <a:gd name="connsiteX15" fmla="*/ 202430 w 386306"/>
                  <a:gd name="connsiteY15" fmla="*/ 613844 h 61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6306" h="613843">
                    <a:moveTo>
                      <a:pt x="202430" y="613844"/>
                    </a:moveTo>
                    <a:cubicBezTo>
                      <a:pt x="202430" y="613844"/>
                      <a:pt x="202430" y="613844"/>
                      <a:pt x="202430" y="613844"/>
                    </a:cubicBezTo>
                    <a:cubicBezTo>
                      <a:pt x="191459" y="613844"/>
                      <a:pt x="183230" y="605616"/>
                      <a:pt x="185973" y="594645"/>
                    </a:cubicBezTo>
                    <a:cubicBezTo>
                      <a:pt x="185973" y="572702"/>
                      <a:pt x="188716" y="553504"/>
                      <a:pt x="191459" y="534304"/>
                    </a:cubicBezTo>
                    <a:cubicBezTo>
                      <a:pt x="199687" y="408137"/>
                      <a:pt x="194202" y="117405"/>
                      <a:pt x="10436" y="35122"/>
                    </a:cubicBezTo>
                    <a:cubicBezTo>
                      <a:pt x="2208" y="32379"/>
                      <a:pt x="-3278" y="21408"/>
                      <a:pt x="2208" y="10436"/>
                    </a:cubicBezTo>
                    <a:cubicBezTo>
                      <a:pt x="4950" y="2208"/>
                      <a:pt x="15922" y="-3278"/>
                      <a:pt x="26893" y="2208"/>
                    </a:cubicBezTo>
                    <a:cubicBezTo>
                      <a:pt x="136604" y="48836"/>
                      <a:pt x="205173" y="169517"/>
                      <a:pt x="224372" y="345054"/>
                    </a:cubicBezTo>
                    <a:cubicBezTo>
                      <a:pt x="227115" y="361510"/>
                      <a:pt x="227115" y="375224"/>
                      <a:pt x="229858" y="391681"/>
                    </a:cubicBezTo>
                    <a:cubicBezTo>
                      <a:pt x="279227" y="268257"/>
                      <a:pt x="353282" y="224372"/>
                      <a:pt x="358768" y="221629"/>
                    </a:cubicBezTo>
                    <a:cubicBezTo>
                      <a:pt x="366996" y="216143"/>
                      <a:pt x="377967" y="218886"/>
                      <a:pt x="383453" y="227115"/>
                    </a:cubicBezTo>
                    <a:cubicBezTo>
                      <a:pt x="388938" y="235343"/>
                      <a:pt x="386196" y="246314"/>
                      <a:pt x="377967" y="251800"/>
                    </a:cubicBezTo>
                    <a:cubicBezTo>
                      <a:pt x="375224" y="251800"/>
                      <a:pt x="262771" y="320369"/>
                      <a:pt x="232601" y="531561"/>
                    </a:cubicBezTo>
                    <a:cubicBezTo>
                      <a:pt x="229858" y="567217"/>
                      <a:pt x="227115" y="591902"/>
                      <a:pt x="227115" y="591902"/>
                    </a:cubicBezTo>
                    <a:cubicBezTo>
                      <a:pt x="218887" y="605616"/>
                      <a:pt x="210658" y="613844"/>
                      <a:pt x="202430" y="613844"/>
                    </a:cubicBezTo>
                    <a:lnTo>
                      <a:pt x="202430" y="613844"/>
                    </a:lnTo>
                    <a:close/>
                  </a:path>
                </a:pathLst>
              </a:custGeom>
              <a:grp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805326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3 </a:t>
            </a:r>
            <a:r>
              <a:rPr lang="el-GR" sz="4000" dirty="0">
                <a:solidFill>
                  <a:schemeClr val="bg1"/>
                </a:solidFill>
              </a:rPr>
              <a:t>    </a:t>
            </a:r>
            <a:r>
              <a:rPr lang="en-US" dirty="0">
                <a:solidFill>
                  <a:schemeClr val="bg1"/>
                </a:solidFill>
              </a:rPr>
              <a:t>Το ξύπνημα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8957141" cy="4255886"/>
          </a:xfrm>
        </p:spPr>
        <p:txBody>
          <a:bodyPr>
            <a:normAutofit fontScale="92500" lnSpcReduction="10000"/>
          </a:bodyPr>
          <a:lstStyle/>
          <a:p>
            <a:pPr marL="12700" indent="-12700"/>
            <a:r>
              <a:rPr lang="en-US" dirty="0"/>
              <a:t>Η κρίση δεν μπορεί πλέον να αμφισβητηθεί. Τα μέτρα εφαρμόζονται υπό μεγάλη πίεση χρόνου. Αυτή είναι η πιο κρίσιμη φάση.  Χρειάζεται εστίαση στη λεπτομέρεια και κρυστάλλινος σχεδιασμός. Πολλές επιχειρήσεις βρίσκουν </a:t>
            </a:r>
            <a:r>
              <a:rPr lang="en-US" dirty="0" err="1"/>
              <a:t>το</a:t>
            </a:r>
            <a:r>
              <a:rPr lang="en-US" dirty="0"/>
              <a:t> δρόμο της επιστροφής από την κρίση. Για να το κάνετε αυτό, θα πρέπει να πάρετε κάποιες δύσκολες αποφάσεις και θα πρέπει να αναλάβετε αποφασιστική δράση για να σώσετε την επιχείρησή σας.</a:t>
            </a:r>
          </a:p>
          <a:p>
            <a:pPr marL="12700" indent="-12700"/>
            <a:r>
              <a:rPr lang="en-US" dirty="0"/>
              <a:t>Να γνωρίζετε όλους τους ανθρώπους, τα μέρη, τα ενδιαφερόμενα μέρη, τους πελάτες, τους εργαζόμενους και τους προμηθευτές κ.λπ. που θα επηρεαστούν και πώς. Λάβετε τα μέτρα που πρέπει να λάβετε. Αυτές οι καταστάσεις τις περισσότερες φορές δεν διορθώνονται μόνες τους και υπάρχει ένα σημείο χωρίς επιστροφή. </a:t>
            </a:r>
          </a:p>
          <a:p>
            <a:pPr marL="12700" indent="-12700"/>
            <a:endParaRPr lang="en-US" dirty="0"/>
          </a:p>
          <a:p>
            <a:pPr marL="12700" indent="-12700"/>
            <a:r>
              <a:rPr lang="en-US" b="1" dirty="0">
                <a:solidFill>
                  <a:schemeClr val="bg2"/>
                </a:solidFill>
                <a:highlight>
                  <a:srgbClr val="F16924"/>
                </a:highlight>
              </a:rPr>
              <a:t>ΔΕΊΤΕ ΤΗΝ ΑΞΊΑ ΤΗΣ ΕΞΩΤΕΡΙΚΉΣ ΥΠΟΣΤΉΡΙΞΗΣ ΣΤΗ ΣΥΝΈΧΕΙΑ ΑΥΤΉΣ ΤΗΣ ΕΝΌΤΗΤΑΣ</a:t>
            </a:r>
          </a:p>
        </p:txBody>
      </p:sp>
      <p:grpSp>
        <p:nvGrpSpPr>
          <p:cNvPr id="14" name="Group 13">
            <a:extLst>
              <a:ext uri="{FF2B5EF4-FFF2-40B4-BE49-F238E27FC236}">
                <a16:creationId xmlns:a16="http://schemas.microsoft.com/office/drawing/2014/main" id="{BD421ED6-85B8-736E-1A47-5826FE0DF382}"/>
              </a:ext>
            </a:extLst>
          </p:cNvPr>
          <p:cNvGrpSpPr/>
          <p:nvPr/>
        </p:nvGrpSpPr>
        <p:grpSpPr>
          <a:xfrm>
            <a:off x="444799" y="1912466"/>
            <a:ext cx="1205405" cy="1199810"/>
            <a:chOff x="3917171" y="3851610"/>
            <a:chExt cx="870324" cy="866284"/>
          </a:xfrm>
          <a:solidFill>
            <a:srgbClr val="595959"/>
          </a:solidFill>
        </p:grpSpPr>
        <p:sp>
          <p:nvSpPr>
            <p:cNvPr id="15" name="Freeform 14">
              <a:extLst>
                <a:ext uri="{FF2B5EF4-FFF2-40B4-BE49-F238E27FC236}">
                  <a16:creationId xmlns:a16="http://schemas.microsoft.com/office/drawing/2014/main" id="{006DE1C0-21F7-59F2-AFF3-0D48B6B28A9B}"/>
                </a:ext>
              </a:extLst>
            </p:cNvPr>
            <p:cNvSpPr/>
            <p:nvPr/>
          </p:nvSpPr>
          <p:spPr>
            <a:xfrm>
              <a:off x="4277058" y="4133446"/>
              <a:ext cx="172115" cy="288159"/>
            </a:xfrm>
            <a:custGeom>
              <a:avLst/>
              <a:gdLst>
                <a:gd name="connsiteX0" fmla="*/ 49263 w 172115"/>
                <a:gd name="connsiteY0" fmla="*/ 165308 h 288159"/>
                <a:gd name="connsiteX1" fmla="*/ 8614 w 172115"/>
                <a:gd name="connsiteY1" fmla="*/ 49683 h 288159"/>
                <a:gd name="connsiteX2" fmla="*/ 86300 w 172115"/>
                <a:gd name="connsiteY2" fmla="*/ 0 h 288159"/>
                <a:gd name="connsiteX3" fmla="*/ 93526 w 172115"/>
                <a:gd name="connsiteY3" fmla="*/ 0 h 288159"/>
                <a:gd name="connsiteX4" fmla="*/ 115206 w 172115"/>
                <a:gd name="connsiteY4" fmla="*/ 78589 h 288159"/>
                <a:gd name="connsiteX5" fmla="*/ 172115 w 172115"/>
                <a:gd name="connsiteY5" fmla="*/ 78589 h 288159"/>
                <a:gd name="connsiteX6" fmla="*/ 172115 w 172115"/>
                <a:gd name="connsiteY6" fmla="*/ 85816 h 288159"/>
                <a:gd name="connsiteX7" fmla="*/ 122432 w 172115"/>
                <a:gd name="connsiteY7" fmla="*/ 164405 h 288159"/>
                <a:gd name="connsiteX8" fmla="*/ 114303 w 172115"/>
                <a:gd name="connsiteY8" fmla="*/ 177051 h 288159"/>
                <a:gd name="connsiteX9" fmla="*/ 114303 w 172115"/>
                <a:gd name="connsiteY9" fmla="*/ 288160 h 288159"/>
                <a:gd name="connsiteX10" fmla="*/ 56490 w 172115"/>
                <a:gd name="connsiteY10" fmla="*/ 288160 h 288159"/>
                <a:gd name="connsiteX11" fmla="*/ 56490 w 172115"/>
                <a:gd name="connsiteY11" fmla="*/ 177051 h 288159"/>
                <a:gd name="connsiteX12" fmla="*/ 49263 w 172115"/>
                <a:gd name="connsiteY12" fmla="*/ 165308 h 28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115" h="288159">
                  <a:moveTo>
                    <a:pt x="49263" y="165308"/>
                  </a:moveTo>
                  <a:cubicBezTo>
                    <a:pt x="5904" y="144531"/>
                    <a:pt x="-12162" y="93043"/>
                    <a:pt x="8614" y="49683"/>
                  </a:cubicBezTo>
                  <a:cubicBezTo>
                    <a:pt x="23067" y="19873"/>
                    <a:pt x="52877" y="0"/>
                    <a:pt x="86300" y="0"/>
                  </a:cubicBezTo>
                  <a:cubicBezTo>
                    <a:pt x="89010" y="0"/>
                    <a:pt x="91720" y="0"/>
                    <a:pt x="93526" y="0"/>
                  </a:cubicBezTo>
                  <a:cubicBezTo>
                    <a:pt x="78170" y="28003"/>
                    <a:pt x="87203" y="63233"/>
                    <a:pt x="115206" y="78589"/>
                  </a:cubicBezTo>
                  <a:cubicBezTo>
                    <a:pt x="133272" y="88526"/>
                    <a:pt x="154952" y="88526"/>
                    <a:pt x="172115" y="78589"/>
                  </a:cubicBezTo>
                  <a:cubicBezTo>
                    <a:pt x="172115" y="81299"/>
                    <a:pt x="172115" y="84009"/>
                    <a:pt x="172115" y="85816"/>
                  </a:cubicBezTo>
                  <a:cubicBezTo>
                    <a:pt x="172115" y="119239"/>
                    <a:pt x="153145" y="149952"/>
                    <a:pt x="122432" y="164405"/>
                  </a:cubicBezTo>
                  <a:cubicBezTo>
                    <a:pt x="117012" y="167114"/>
                    <a:pt x="114303" y="171631"/>
                    <a:pt x="114303" y="177051"/>
                  </a:cubicBezTo>
                  <a:lnTo>
                    <a:pt x="114303" y="288160"/>
                  </a:lnTo>
                  <a:lnTo>
                    <a:pt x="56490" y="288160"/>
                  </a:lnTo>
                  <a:lnTo>
                    <a:pt x="56490" y="177051"/>
                  </a:lnTo>
                  <a:cubicBezTo>
                    <a:pt x="57393" y="172535"/>
                    <a:pt x="54683" y="167114"/>
                    <a:pt x="49263" y="165308"/>
                  </a:cubicBez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16" name="Graphic 2">
              <a:extLst>
                <a:ext uri="{FF2B5EF4-FFF2-40B4-BE49-F238E27FC236}">
                  <a16:creationId xmlns:a16="http://schemas.microsoft.com/office/drawing/2014/main" id="{A6884616-87B8-AB37-05F6-630FDF213F53}"/>
                </a:ext>
              </a:extLst>
            </p:cNvPr>
            <p:cNvGrpSpPr/>
            <p:nvPr/>
          </p:nvGrpSpPr>
          <p:grpSpPr>
            <a:xfrm>
              <a:off x="3917171" y="3851610"/>
              <a:ext cx="870324" cy="866284"/>
              <a:chOff x="3917171" y="3851610"/>
              <a:chExt cx="870324" cy="866284"/>
            </a:xfrm>
            <a:grpFill/>
          </p:grpSpPr>
          <p:sp>
            <p:nvSpPr>
              <p:cNvPr id="17" name="Freeform 16">
                <a:extLst>
                  <a:ext uri="{FF2B5EF4-FFF2-40B4-BE49-F238E27FC236}">
                    <a16:creationId xmlns:a16="http://schemas.microsoft.com/office/drawing/2014/main" id="{25E0CC55-87CF-9AAC-29DD-9BECDD1C1FAE}"/>
                  </a:ext>
                </a:extLst>
              </p:cNvPr>
              <p:cNvSpPr/>
              <p:nvPr/>
            </p:nvSpPr>
            <p:spPr>
              <a:xfrm>
                <a:off x="4425802" y="3860759"/>
                <a:ext cx="46741" cy="84796"/>
              </a:xfrm>
              <a:custGeom>
                <a:avLst/>
                <a:gdLst>
                  <a:gd name="connsiteX0" fmla="*/ 10724 w 46741"/>
                  <a:gd name="connsiteY0" fmla="*/ 83893 h 84796"/>
                  <a:gd name="connsiteX1" fmla="*/ 15241 w 46741"/>
                  <a:gd name="connsiteY1" fmla="*/ 84797 h 84796"/>
                  <a:gd name="connsiteX2" fmla="*/ 28791 w 46741"/>
                  <a:gd name="connsiteY2" fmla="*/ 74860 h 84796"/>
                  <a:gd name="connsiteX3" fmla="*/ 45954 w 46741"/>
                  <a:gd name="connsiteY3" fmla="*/ 18854 h 84796"/>
                  <a:gd name="connsiteX4" fmla="*/ 36017 w 46741"/>
                  <a:gd name="connsiteY4" fmla="*/ 788 h 84796"/>
                  <a:gd name="connsiteX5" fmla="*/ 17951 w 46741"/>
                  <a:gd name="connsiteY5" fmla="*/ 10724 h 84796"/>
                  <a:gd name="connsiteX6" fmla="*/ 17951 w 46741"/>
                  <a:gd name="connsiteY6" fmla="*/ 10724 h 84796"/>
                  <a:gd name="connsiteX7" fmla="*/ 788 w 46741"/>
                  <a:gd name="connsiteY7" fmla="*/ 66730 h 84796"/>
                  <a:gd name="connsiteX8" fmla="*/ 10724 w 46741"/>
                  <a:gd name="connsiteY8" fmla="*/ 83893 h 84796"/>
                  <a:gd name="connsiteX9" fmla="*/ 10724 w 46741"/>
                  <a:gd name="connsiteY9" fmla="*/ 83893 h 8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41" h="84796">
                    <a:moveTo>
                      <a:pt x="10724" y="83893"/>
                    </a:moveTo>
                    <a:cubicBezTo>
                      <a:pt x="11628" y="83893"/>
                      <a:pt x="13434" y="84797"/>
                      <a:pt x="15241" y="84797"/>
                    </a:cubicBezTo>
                    <a:cubicBezTo>
                      <a:pt x="21564" y="84797"/>
                      <a:pt x="26984" y="80280"/>
                      <a:pt x="28791" y="74860"/>
                    </a:cubicBezTo>
                    <a:lnTo>
                      <a:pt x="45954" y="18854"/>
                    </a:lnTo>
                    <a:cubicBezTo>
                      <a:pt x="48664" y="11628"/>
                      <a:pt x="44147" y="3498"/>
                      <a:pt x="36017" y="788"/>
                    </a:cubicBezTo>
                    <a:cubicBezTo>
                      <a:pt x="27888" y="-1922"/>
                      <a:pt x="20661" y="2595"/>
                      <a:pt x="17951" y="10724"/>
                    </a:cubicBezTo>
                    <a:lnTo>
                      <a:pt x="17951" y="10724"/>
                    </a:lnTo>
                    <a:lnTo>
                      <a:pt x="788" y="66730"/>
                    </a:lnTo>
                    <a:cubicBezTo>
                      <a:pt x="-1922" y="73957"/>
                      <a:pt x="2594" y="82087"/>
                      <a:pt x="10724" y="83893"/>
                    </a:cubicBezTo>
                    <a:cubicBezTo>
                      <a:pt x="10724" y="83893"/>
                      <a:pt x="10724" y="83893"/>
                      <a:pt x="10724" y="838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84FC622A-148C-96F4-C19E-641032889D6B}"/>
                  </a:ext>
                </a:extLst>
              </p:cNvPr>
              <p:cNvSpPr/>
              <p:nvPr/>
            </p:nvSpPr>
            <p:spPr>
              <a:xfrm>
                <a:off x="4523747" y="3889338"/>
                <a:ext cx="57122" cy="80418"/>
              </a:xfrm>
              <a:custGeom>
                <a:avLst/>
                <a:gdLst>
                  <a:gd name="connsiteX0" fmla="*/ 7628 w 57122"/>
                  <a:gd name="connsiteY0" fmla="*/ 78800 h 80418"/>
                  <a:gd name="connsiteX1" fmla="*/ 27501 w 57122"/>
                  <a:gd name="connsiteY1" fmla="*/ 73381 h 80418"/>
                  <a:gd name="connsiteX2" fmla="*/ 55504 w 57122"/>
                  <a:gd name="connsiteY2" fmla="*/ 21891 h 80418"/>
                  <a:gd name="connsiteX3" fmla="*/ 50084 w 57122"/>
                  <a:gd name="connsiteY3" fmla="*/ 2018 h 80418"/>
                  <a:gd name="connsiteX4" fmla="*/ 30211 w 57122"/>
                  <a:gd name="connsiteY4" fmla="*/ 7438 h 80418"/>
                  <a:gd name="connsiteX5" fmla="*/ 2208 w 57122"/>
                  <a:gd name="connsiteY5" fmla="*/ 58927 h 80418"/>
                  <a:gd name="connsiteX6" fmla="*/ 7628 w 57122"/>
                  <a:gd name="connsiteY6" fmla="*/ 78800 h 80418"/>
                  <a:gd name="connsiteX7" fmla="*/ 7628 w 57122"/>
                  <a:gd name="connsiteY7" fmla="*/ 78800 h 8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22" h="80418">
                    <a:moveTo>
                      <a:pt x="7628" y="78800"/>
                    </a:moveTo>
                    <a:cubicBezTo>
                      <a:pt x="14855" y="82414"/>
                      <a:pt x="22985" y="79704"/>
                      <a:pt x="27501" y="73381"/>
                    </a:cubicBezTo>
                    <a:lnTo>
                      <a:pt x="55504" y="21891"/>
                    </a:lnTo>
                    <a:cubicBezTo>
                      <a:pt x="59117" y="14665"/>
                      <a:pt x="56407" y="6535"/>
                      <a:pt x="50084" y="2018"/>
                    </a:cubicBezTo>
                    <a:cubicBezTo>
                      <a:pt x="43761" y="-2499"/>
                      <a:pt x="34728" y="1115"/>
                      <a:pt x="30211" y="7438"/>
                    </a:cubicBezTo>
                    <a:lnTo>
                      <a:pt x="2208" y="58927"/>
                    </a:lnTo>
                    <a:cubicBezTo>
                      <a:pt x="-2308" y="66154"/>
                      <a:pt x="401" y="75187"/>
                      <a:pt x="7628" y="78800"/>
                    </a:cubicBezTo>
                    <a:cubicBezTo>
                      <a:pt x="7628" y="78800"/>
                      <a:pt x="7628" y="78800"/>
                      <a:pt x="7628" y="7880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D09B4478-2C48-55ED-B170-5E43B9E66402}"/>
                  </a:ext>
                </a:extLst>
              </p:cNvPr>
              <p:cNvSpPr/>
              <p:nvPr/>
            </p:nvSpPr>
            <p:spPr>
              <a:xfrm>
                <a:off x="4624471" y="3940190"/>
                <a:ext cx="67640" cy="74921"/>
              </a:xfrm>
              <a:custGeom>
                <a:avLst/>
                <a:gdLst>
                  <a:gd name="connsiteX0" fmla="*/ 15302 w 67640"/>
                  <a:gd name="connsiteY0" fmla="*/ 74921 h 74921"/>
                  <a:gd name="connsiteX1" fmla="*/ 26142 w 67640"/>
                  <a:gd name="connsiteY1" fmla="*/ 69502 h 74921"/>
                  <a:gd name="connsiteX2" fmla="*/ 64081 w 67640"/>
                  <a:gd name="connsiteY2" fmla="*/ 24336 h 74921"/>
                  <a:gd name="connsiteX3" fmla="*/ 62275 w 67640"/>
                  <a:gd name="connsiteY3" fmla="*/ 3559 h 74921"/>
                  <a:gd name="connsiteX4" fmla="*/ 41498 w 67640"/>
                  <a:gd name="connsiteY4" fmla="*/ 5365 h 74921"/>
                  <a:gd name="connsiteX5" fmla="*/ 41498 w 67640"/>
                  <a:gd name="connsiteY5" fmla="*/ 5365 h 74921"/>
                  <a:gd name="connsiteX6" fmla="*/ 3559 w 67640"/>
                  <a:gd name="connsiteY6" fmla="*/ 50532 h 74921"/>
                  <a:gd name="connsiteX7" fmla="*/ 5365 w 67640"/>
                  <a:gd name="connsiteY7" fmla="*/ 71308 h 74921"/>
                  <a:gd name="connsiteX8" fmla="*/ 15302 w 67640"/>
                  <a:gd name="connsiteY8" fmla="*/ 74921 h 7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40" h="74921">
                    <a:moveTo>
                      <a:pt x="15302" y="74921"/>
                    </a:moveTo>
                    <a:cubicBezTo>
                      <a:pt x="19819" y="74921"/>
                      <a:pt x="23432" y="73115"/>
                      <a:pt x="26142" y="69502"/>
                    </a:cubicBezTo>
                    <a:lnTo>
                      <a:pt x="64081" y="24336"/>
                    </a:lnTo>
                    <a:cubicBezTo>
                      <a:pt x="69501" y="18012"/>
                      <a:pt x="68598" y="8979"/>
                      <a:pt x="62275" y="3559"/>
                    </a:cubicBezTo>
                    <a:cubicBezTo>
                      <a:pt x="55952" y="-1861"/>
                      <a:pt x="46918" y="-958"/>
                      <a:pt x="41498" y="5365"/>
                    </a:cubicBezTo>
                    <a:cubicBezTo>
                      <a:pt x="41498" y="5365"/>
                      <a:pt x="41498" y="5365"/>
                      <a:pt x="41498" y="5365"/>
                    </a:cubicBezTo>
                    <a:lnTo>
                      <a:pt x="3559" y="50532"/>
                    </a:lnTo>
                    <a:cubicBezTo>
                      <a:pt x="-1861" y="56855"/>
                      <a:pt x="-958" y="65888"/>
                      <a:pt x="5365" y="71308"/>
                    </a:cubicBezTo>
                    <a:cubicBezTo>
                      <a:pt x="8979" y="74018"/>
                      <a:pt x="11689" y="74921"/>
                      <a:pt x="15302" y="7492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63A59EE3-E24A-8818-8FEF-E342B56A1EB8}"/>
                  </a:ext>
                </a:extLst>
              </p:cNvPr>
              <p:cNvSpPr/>
              <p:nvPr/>
            </p:nvSpPr>
            <p:spPr>
              <a:xfrm>
                <a:off x="4713900" y="4020349"/>
                <a:ext cx="73594" cy="67027"/>
              </a:xfrm>
              <a:custGeom>
                <a:avLst/>
                <a:gdLst>
                  <a:gd name="connsiteX0" fmla="*/ 14399 w 73594"/>
                  <a:gd name="connsiteY0" fmla="*/ 67028 h 67027"/>
                  <a:gd name="connsiteX1" fmla="*/ 23432 w 73594"/>
                  <a:gd name="connsiteY1" fmla="*/ 63414 h 67027"/>
                  <a:gd name="connsiteX2" fmla="*/ 68598 w 73594"/>
                  <a:gd name="connsiteY2" fmla="*/ 25475 h 67027"/>
                  <a:gd name="connsiteX3" fmla="*/ 70405 w 73594"/>
                  <a:gd name="connsiteY3" fmla="*/ 4698 h 67027"/>
                  <a:gd name="connsiteX4" fmla="*/ 50531 w 73594"/>
                  <a:gd name="connsiteY4" fmla="*/ 2892 h 67027"/>
                  <a:gd name="connsiteX5" fmla="*/ 5365 w 73594"/>
                  <a:gd name="connsiteY5" fmla="*/ 40831 h 67027"/>
                  <a:gd name="connsiteX6" fmla="*/ 3559 w 73594"/>
                  <a:gd name="connsiteY6" fmla="*/ 61608 h 67027"/>
                  <a:gd name="connsiteX7" fmla="*/ 14399 w 73594"/>
                  <a:gd name="connsiteY7" fmla="*/ 67028 h 67027"/>
                  <a:gd name="connsiteX8" fmla="*/ 14399 w 73594"/>
                  <a:gd name="connsiteY8" fmla="*/ 67028 h 6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94" h="67027">
                    <a:moveTo>
                      <a:pt x="14399" y="67028"/>
                    </a:moveTo>
                    <a:cubicBezTo>
                      <a:pt x="18012" y="67028"/>
                      <a:pt x="20722" y="66124"/>
                      <a:pt x="23432" y="63414"/>
                    </a:cubicBezTo>
                    <a:lnTo>
                      <a:pt x="68598" y="25475"/>
                    </a:lnTo>
                    <a:cubicBezTo>
                      <a:pt x="74921" y="20055"/>
                      <a:pt x="74921" y="11022"/>
                      <a:pt x="70405" y="4698"/>
                    </a:cubicBezTo>
                    <a:cubicBezTo>
                      <a:pt x="64985" y="-722"/>
                      <a:pt x="56855" y="-1625"/>
                      <a:pt x="50531" y="2892"/>
                    </a:cubicBezTo>
                    <a:lnTo>
                      <a:pt x="5365" y="40831"/>
                    </a:lnTo>
                    <a:cubicBezTo>
                      <a:pt x="-958" y="46251"/>
                      <a:pt x="-1861" y="55285"/>
                      <a:pt x="3559" y="61608"/>
                    </a:cubicBezTo>
                    <a:cubicBezTo>
                      <a:pt x="5365" y="65221"/>
                      <a:pt x="9882" y="67028"/>
                      <a:pt x="14399" y="67028"/>
                    </a:cubicBezTo>
                    <a:lnTo>
                      <a:pt x="14399" y="6702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B59D4274-3590-1583-83E6-95B45C806D23}"/>
                  </a:ext>
                </a:extLst>
              </p:cNvPr>
              <p:cNvSpPr/>
              <p:nvPr/>
            </p:nvSpPr>
            <p:spPr>
              <a:xfrm>
                <a:off x="4011485" y="3940558"/>
                <a:ext cx="67271" cy="74498"/>
              </a:xfrm>
              <a:custGeom>
                <a:avLst/>
                <a:gdLst>
                  <a:gd name="connsiteX0" fmla="*/ 41130 w 67271"/>
                  <a:gd name="connsiteY0" fmla="*/ 69133 h 74498"/>
                  <a:gd name="connsiteX1" fmla="*/ 61906 w 67271"/>
                  <a:gd name="connsiteY1" fmla="*/ 70939 h 74498"/>
                  <a:gd name="connsiteX2" fmla="*/ 63713 w 67271"/>
                  <a:gd name="connsiteY2" fmla="*/ 50163 h 74498"/>
                  <a:gd name="connsiteX3" fmla="*/ 63713 w 67271"/>
                  <a:gd name="connsiteY3" fmla="*/ 50163 h 74498"/>
                  <a:gd name="connsiteX4" fmla="*/ 25773 w 67271"/>
                  <a:gd name="connsiteY4" fmla="*/ 4997 h 74498"/>
                  <a:gd name="connsiteX5" fmla="*/ 4997 w 67271"/>
                  <a:gd name="connsiteY5" fmla="*/ 3190 h 74498"/>
                  <a:gd name="connsiteX6" fmla="*/ 3190 w 67271"/>
                  <a:gd name="connsiteY6" fmla="*/ 23063 h 74498"/>
                  <a:gd name="connsiteX7" fmla="*/ 41130 w 67271"/>
                  <a:gd name="connsiteY7" fmla="*/ 69133 h 7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71" h="74498">
                    <a:moveTo>
                      <a:pt x="41130" y="69133"/>
                    </a:moveTo>
                    <a:cubicBezTo>
                      <a:pt x="46549" y="75456"/>
                      <a:pt x="55583" y="76359"/>
                      <a:pt x="61906" y="70939"/>
                    </a:cubicBezTo>
                    <a:cubicBezTo>
                      <a:pt x="68229" y="65519"/>
                      <a:pt x="69132" y="56486"/>
                      <a:pt x="63713" y="50163"/>
                    </a:cubicBezTo>
                    <a:cubicBezTo>
                      <a:pt x="63713" y="50163"/>
                      <a:pt x="63713" y="50163"/>
                      <a:pt x="63713" y="50163"/>
                    </a:cubicBezTo>
                    <a:lnTo>
                      <a:pt x="25773" y="4997"/>
                    </a:lnTo>
                    <a:cubicBezTo>
                      <a:pt x="20353" y="-1327"/>
                      <a:pt x="11320" y="-1327"/>
                      <a:pt x="4997" y="3190"/>
                    </a:cubicBezTo>
                    <a:cubicBezTo>
                      <a:pt x="-1327" y="8610"/>
                      <a:pt x="-1327" y="17643"/>
                      <a:pt x="3190" y="23063"/>
                    </a:cubicBezTo>
                    <a:lnTo>
                      <a:pt x="41130" y="69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B2A22498-AD73-AE46-D43A-CDA19F726ED6}"/>
                  </a:ext>
                </a:extLst>
              </p:cNvPr>
              <p:cNvSpPr/>
              <p:nvPr/>
            </p:nvSpPr>
            <p:spPr>
              <a:xfrm>
                <a:off x="4121769" y="3889148"/>
                <a:ext cx="57712" cy="81198"/>
              </a:xfrm>
              <a:custGeom>
                <a:avLst/>
                <a:gdLst>
                  <a:gd name="connsiteX0" fmla="*/ 30211 w 57712"/>
                  <a:gd name="connsiteY0" fmla="*/ 73571 h 81198"/>
                  <a:gd name="connsiteX1" fmla="*/ 50084 w 57712"/>
                  <a:gd name="connsiteY1" fmla="*/ 78990 h 81198"/>
                  <a:gd name="connsiteX2" fmla="*/ 55504 w 57712"/>
                  <a:gd name="connsiteY2" fmla="*/ 59117 h 81198"/>
                  <a:gd name="connsiteX3" fmla="*/ 27501 w 57712"/>
                  <a:gd name="connsiteY3" fmla="*/ 7628 h 81198"/>
                  <a:gd name="connsiteX4" fmla="*/ 7628 w 57712"/>
                  <a:gd name="connsiteY4" fmla="*/ 2208 h 81198"/>
                  <a:gd name="connsiteX5" fmla="*/ 2208 w 57712"/>
                  <a:gd name="connsiteY5" fmla="*/ 22081 h 81198"/>
                  <a:gd name="connsiteX6" fmla="*/ 30211 w 57712"/>
                  <a:gd name="connsiteY6" fmla="*/ 7357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12" h="81198">
                    <a:moveTo>
                      <a:pt x="30211" y="73571"/>
                    </a:moveTo>
                    <a:cubicBezTo>
                      <a:pt x="33824" y="80797"/>
                      <a:pt x="42858" y="83507"/>
                      <a:pt x="50084" y="78990"/>
                    </a:cubicBezTo>
                    <a:cubicBezTo>
                      <a:pt x="57311" y="74474"/>
                      <a:pt x="60021" y="66344"/>
                      <a:pt x="55504" y="59117"/>
                    </a:cubicBezTo>
                    <a:lnTo>
                      <a:pt x="27501" y="7628"/>
                    </a:lnTo>
                    <a:cubicBezTo>
                      <a:pt x="23888" y="401"/>
                      <a:pt x="14855" y="-2308"/>
                      <a:pt x="7628" y="2208"/>
                    </a:cubicBezTo>
                    <a:cubicBezTo>
                      <a:pt x="401" y="6725"/>
                      <a:pt x="-2308" y="14855"/>
                      <a:pt x="2208" y="22081"/>
                    </a:cubicBezTo>
                    <a:lnTo>
                      <a:pt x="30211" y="73571"/>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3" name="Freeform 22">
                <a:extLst>
                  <a:ext uri="{FF2B5EF4-FFF2-40B4-BE49-F238E27FC236}">
                    <a16:creationId xmlns:a16="http://schemas.microsoft.com/office/drawing/2014/main" id="{738F6CC6-8B27-E691-F9A2-D5989A4C09B2}"/>
                  </a:ext>
                </a:extLst>
              </p:cNvPr>
              <p:cNvSpPr/>
              <p:nvPr/>
            </p:nvSpPr>
            <p:spPr>
              <a:xfrm>
                <a:off x="3917171" y="4023295"/>
                <a:ext cx="73060" cy="64026"/>
              </a:xfrm>
              <a:custGeom>
                <a:avLst/>
                <a:gdLst>
                  <a:gd name="connsiteX0" fmla="*/ 48725 w 73060"/>
                  <a:gd name="connsiteY0" fmla="*/ 60468 h 64026"/>
                  <a:gd name="connsiteX1" fmla="*/ 69501 w 73060"/>
                  <a:gd name="connsiteY1" fmla="*/ 58662 h 64026"/>
                  <a:gd name="connsiteX2" fmla="*/ 67695 w 73060"/>
                  <a:gd name="connsiteY2" fmla="*/ 37885 h 64026"/>
                  <a:gd name="connsiteX3" fmla="*/ 66791 w 73060"/>
                  <a:gd name="connsiteY3" fmla="*/ 36982 h 64026"/>
                  <a:gd name="connsiteX4" fmla="*/ 24335 w 73060"/>
                  <a:gd name="connsiteY4" fmla="*/ 3559 h 64026"/>
                  <a:gd name="connsiteX5" fmla="*/ 3559 w 73060"/>
                  <a:gd name="connsiteY5" fmla="*/ 5365 h 64026"/>
                  <a:gd name="connsiteX6" fmla="*/ 5365 w 73060"/>
                  <a:gd name="connsiteY6" fmla="*/ 26142 h 64026"/>
                  <a:gd name="connsiteX7" fmla="*/ 6269 w 73060"/>
                  <a:gd name="connsiteY7" fmla="*/ 27045 h 64026"/>
                  <a:gd name="connsiteX8" fmla="*/ 48725 w 73060"/>
                  <a:gd name="connsiteY8" fmla="*/ 60468 h 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060" h="64026">
                    <a:moveTo>
                      <a:pt x="48725" y="60468"/>
                    </a:moveTo>
                    <a:cubicBezTo>
                      <a:pt x="55048" y="65888"/>
                      <a:pt x="64081" y="64984"/>
                      <a:pt x="69501" y="58662"/>
                    </a:cubicBezTo>
                    <a:cubicBezTo>
                      <a:pt x="74921" y="52338"/>
                      <a:pt x="74018" y="43305"/>
                      <a:pt x="67695" y="37885"/>
                    </a:cubicBezTo>
                    <a:cubicBezTo>
                      <a:pt x="67695" y="37885"/>
                      <a:pt x="66791" y="37885"/>
                      <a:pt x="66791" y="36982"/>
                    </a:cubicBezTo>
                    <a:lnTo>
                      <a:pt x="24335" y="3559"/>
                    </a:lnTo>
                    <a:cubicBezTo>
                      <a:pt x="18012" y="-1861"/>
                      <a:pt x="8979" y="-958"/>
                      <a:pt x="3559" y="5365"/>
                    </a:cubicBezTo>
                    <a:cubicBezTo>
                      <a:pt x="-1861" y="11689"/>
                      <a:pt x="-958" y="20722"/>
                      <a:pt x="5365" y="26142"/>
                    </a:cubicBezTo>
                    <a:cubicBezTo>
                      <a:pt x="5365" y="26142"/>
                      <a:pt x="6269" y="26142"/>
                      <a:pt x="6269" y="27045"/>
                    </a:cubicBezTo>
                    <a:lnTo>
                      <a:pt x="48725" y="6046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4" name="Freeform 23">
                <a:extLst>
                  <a:ext uri="{FF2B5EF4-FFF2-40B4-BE49-F238E27FC236}">
                    <a16:creationId xmlns:a16="http://schemas.microsoft.com/office/drawing/2014/main" id="{88530A9B-75DC-55F4-924F-B8C7550B9960}"/>
                  </a:ext>
                </a:extLst>
              </p:cNvPr>
              <p:cNvSpPr/>
              <p:nvPr/>
            </p:nvSpPr>
            <p:spPr>
              <a:xfrm>
                <a:off x="4231016" y="3860245"/>
                <a:ext cx="46020" cy="85310"/>
              </a:xfrm>
              <a:custGeom>
                <a:avLst/>
                <a:gdLst>
                  <a:gd name="connsiteX0" fmla="*/ 17619 w 46020"/>
                  <a:gd name="connsiteY0" fmla="*/ 75374 h 85310"/>
                  <a:gd name="connsiteX1" fmla="*/ 31169 w 46020"/>
                  <a:gd name="connsiteY1" fmla="*/ 85310 h 85310"/>
                  <a:gd name="connsiteX2" fmla="*/ 35686 w 46020"/>
                  <a:gd name="connsiteY2" fmla="*/ 84407 h 85310"/>
                  <a:gd name="connsiteX3" fmla="*/ 45622 w 46020"/>
                  <a:gd name="connsiteY3" fmla="*/ 66341 h 85310"/>
                  <a:gd name="connsiteX4" fmla="*/ 45622 w 46020"/>
                  <a:gd name="connsiteY4" fmla="*/ 66341 h 85310"/>
                  <a:gd name="connsiteX5" fmla="*/ 28459 w 46020"/>
                  <a:gd name="connsiteY5" fmla="*/ 10335 h 85310"/>
                  <a:gd name="connsiteX6" fmla="*/ 10393 w 46020"/>
                  <a:gd name="connsiteY6" fmla="*/ 398 h 85310"/>
                  <a:gd name="connsiteX7" fmla="*/ 456 w 46020"/>
                  <a:gd name="connsiteY7" fmla="*/ 18465 h 85310"/>
                  <a:gd name="connsiteX8" fmla="*/ 17619 w 46020"/>
                  <a:gd name="connsiteY8" fmla="*/ 75374 h 8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20" h="85310">
                    <a:moveTo>
                      <a:pt x="17619" y="75374"/>
                    </a:moveTo>
                    <a:cubicBezTo>
                      <a:pt x="19426" y="81697"/>
                      <a:pt x="24846" y="85310"/>
                      <a:pt x="31169" y="85310"/>
                    </a:cubicBezTo>
                    <a:cubicBezTo>
                      <a:pt x="32976" y="85310"/>
                      <a:pt x="33879" y="85310"/>
                      <a:pt x="35686" y="84407"/>
                    </a:cubicBezTo>
                    <a:cubicBezTo>
                      <a:pt x="42912" y="81697"/>
                      <a:pt x="47429" y="74470"/>
                      <a:pt x="45622" y="66341"/>
                    </a:cubicBezTo>
                    <a:cubicBezTo>
                      <a:pt x="45622" y="66341"/>
                      <a:pt x="45622" y="66341"/>
                      <a:pt x="45622" y="66341"/>
                    </a:cubicBezTo>
                    <a:lnTo>
                      <a:pt x="28459" y="10335"/>
                    </a:lnTo>
                    <a:cubicBezTo>
                      <a:pt x="25749" y="3108"/>
                      <a:pt x="18522" y="-1408"/>
                      <a:pt x="10393" y="398"/>
                    </a:cubicBezTo>
                    <a:cubicBezTo>
                      <a:pt x="2263" y="2205"/>
                      <a:pt x="-1351" y="10335"/>
                      <a:pt x="456" y="18465"/>
                    </a:cubicBezTo>
                    <a:lnTo>
                      <a:pt x="17619" y="75374"/>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695EB752-7DEA-E92A-55F6-AFDDC40BF347}"/>
                  </a:ext>
                </a:extLst>
              </p:cNvPr>
              <p:cNvSpPr/>
              <p:nvPr/>
            </p:nvSpPr>
            <p:spPr>
              <a:xfrm>
                <a:off x="4337161" y="3851610"/>
                <a:ext cx="28906" cy="86718"/>
              </a:xfrm>
              <a:custGeom>
                <a:avLst/>
                <a:gdLst>
                  <a:gd name="connsiteX0" fmla="*/ 14453 w 28906"/>
                  <a:gd name="connsiteY0" fmla="*/ 86719 h 86718"/>
                  <a:gd name="connsiteX1" fmla="*/ 28906 w 28906"/>
                  <a:gd name="connsiteY1" fmla="*/ 72266 h 86718"/>
                  <a:gd name="connsiteX2" fmla="*/ 28906 w 28906"/>
                  <a:gd name="connsiteY2" fmla="*/ 14453 h 86718"/>
                  <a:gd name="connsiteX3" fmla="*/ 14453 w 28906"/>
                  <a:gd name="connsiteY3" fmla="*/ 0 h 86718"/>
                  <a:gd name="connsiteX4" fmla="*/ 0 w 28906"/>
                  <a:gd name="connsiteY4" fmla="*/ 14453 h 86718"/>
                  <a:gd name="connsiteX5" fmla="*/ 0 w 28906"/>
                  <a:gd name="connsiteY5" fmla="*/ 72266 h 86718"/>
                  <a:gd name="connsiteX6" fmla="*/ 14453 w 28906"/>
                  <a:gd name="connsiteY6" fmla="*/ 86719 h 8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06" h="86718">
                    <a:moveTo>
                      <a:pt x="14453" y="86719"/>
                    </a:moveTo>
                    <a:cubicBezTo>
                      <a:pt x="22583" y="86719"/>
                      <a:pt x="28906" y="80395"/>
                      <a:pt x="28906" y="72266"/>
                    </a:cubicBezTo>
                    <a:lnTo>
                      <a:pt x="28906" y="14453"/>
                    </a:lnTo>
                    <a:cubicBezTo>
                      <a:pt x="28906" y="6323"/>
                      <a:pt x="22583" y="0"/>
                      <a:pt x="14453" y="0"/>
                    </a:cubicBezTo>
                    <a:cubicBezTo>
                      <a:pt x="6323" y="0"/>
                      <a:pt x="0" y="6323"/>
                      <a:pt x="0" y="14453"/>
                    </a:cubicBezTo>
                    <a:lnTo>
                      <a:pt x="0" y="72266"/>
                    </a:lnTo>
                    <a:cubicBezTo>
                      <a:pt x="0" y="80395"/>
                      <a:pt x="6323" y="86719"/>
                      <a:pt x="14453" y="8671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0" name="Freeform 29">
                <a:extLst>
                  <a:ext uri="{FF2B5EF4-FFF2-40B4-BE49-F238E27FC236}">
                    <a16:creationId xmlns:a16="http://schemas.microsoft.com/office/drawing/2014/main" id="{C01959B8-6614-0EB5-566F-5ABA996940C5}"/>
                  </a:ext>
                </a:extLst>
              </p:cNvPr>
              <p:cNvSpPr/>
              <p:nvPr/>
            </p:nvSpPr>
            <p:spPr>
              <a:xfrm>
                <a:off x="3918020" y="4108040"/>
                <a:ext cx="245314" cy="306853"/>
              </a:xfrm>
              <a:custGeom>
                <a:avLst/>
                <a:gdLst>
                  <a:gd name="connsiteX0" fmla="*/ 236670 w 245314"/>
                  <a:gd name="connsiteY0" fmla="*/ 279239 h 306853"/>
                  <a:gd name="connsiteX1" fmla="*/ 32520 w 245314"/>
                  <a:gd name="connsiteY1" fmla="*/ 119351 h 306853"/>
                  <a:gd name="connsiteX2" fmla="*/ 126465 w 245314"/>
                  <a:gd name="connsiteY2" fmla="*/ 25406 h 306853"/>
                  <a:gd name="connsiteX3" fmla="*/ 129175 w 245314"/>
                  <a:gd name="connsiteY3" fmla="*/ 5533 h 306853"/>
                  <a:gd name="connsiteX4" fmla="*/ 109302 w 245314"/>
                  <a:gd name="connsiteY4" fmla="*/ 2823 h 306853"/>
                  <a:gd name="connsiteX5" fmla="*/ 2710 w 245314"/>
                  <a:gd name="connsiteY5" fmla="*/ 110318 h 306853"/>
                  <a:gd name="connsiteX6" fmla="*/ 2710 w 245314"/>
                  <a:gd name="connsiteY6" fmla="*/ 128385 h 306853"/>
                  <a:gd name="connsiteX7" fmla="*/ 224927 w 245314"/>
                  <a:gd name="connsiteY7" fmla="*/ 305435 h 306853"/>
                  <a:gd name="connsiteX8" fmla="*/ 243897 w 245314"/>
                  <a:gd name="connsiteY8" fmla="*/ 298209 h 306853"/>
                  <a:gd name="connsiteX9" fmla="*/ 236670 w 245314"/>
                  <a:gd name="connsiteY9" fmla="*/ 279239 h 306853"/>
                  <a:gd name="connsiteX10" fmla="*/ 236670 w 245314"/>
                  <a:gd name="connsiteY10" fmla="*/ 279239 h 30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5314" h="306853">
                    <a:moveTo>
                      <a:pt x="236670" y="279239"/>
                    </a:moveTo>
                    <a:cubicBezTo>
                      <a:pt x="157178" y="243107"/>
                      <a:pt x="86719" y="188004"/>
                      <a:pt x="32520" y="119351"/>
                    </a:cubicBezTo>
                    <a:cubicBezTo>
                      <a:pt x="60522" y="85025"/>
                      <a:pt x="92139" y="53409"/>
                      <a:pt x="126465" y="25406"/>
                    </a:cubicBezTo>
                    <a:cubicBezTo>
                      <a:pt x="132788" y="20889"/>
                      <a:pt x="133692" y="10953"/>
                      <a:pt x="129175" y="5533"/>
                    </a:cubicBezTo>
                    <a:cubicBezTo>
                      <a:pt x="124658" y="-790"/>
                      <a:pt x="114722" y="-1694"/>
                      <a:pt x="109302" y="2823"/>
                    </a:cubicBezTo>
                    <a:cubicBezTo>
                      <a:pt x="69556" y="34439"/>
                      <a:pt x="34326" y="70572"/>
                      <a:pt x="2710" y="110318"/>
                    </a:cubicBezTo>
                    <a:cubicBezTo>
                      <a:pt x="-903" y="115738"/>
                      <a:pt x="-903" y="122965"/>
                      <a:pt x="2710" y="128385"/>
                    </a:cubicBezTo>
                    <a:cubicBezTo>
                      <a:pt x="61426" y="205167"/>
                      <a:pt x="137305" y="265690"/>
                      <a:pt x="224927" y="305435"/>
                    </a:cubicBezTo>
                    <a:cubicBezTo>
                      <a:pt x="232154" y="309049"/>
                      <a:pt x="241187" y="305435"/>
                      <a:pt x="243897" y="298209"/>
                    </a:cubicBezTo>
                    <a:cubicBezTo>
                      <a:pt x="247510" y="290983"/>
                      <a:pt x="243897" y="282852"/>
                      <a:pt x="236670" y="279239"/>
                    </a:cubicBezTo>
                    <a:lnTo>
                      <a:pt x="236670" y="279239"/>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1" name="Freeform 30">
                <a:extLst>
                  <a:ext uri="{FF2B5EF4-FFF2-40B4-BE49-F238E27FC236}">
                    <a16:creationId xmlns:a16="http://schemas.microsoft.com/office/drawing/2014/main" id="{3BE1C44B-F02F-F8D0-37F2-50766C8295E5}"/>
                  </a:ext>
                </a:extLst>
              </p:cNvPr>
              <p:cNvSpPr/>
              <p:nvPr/>
            </p:nvSpPr>
            <p:spPr>
              <a:xfrm>
                <a:off x="4064825" y="3996141"/>
                <a:ext cx="719480" cy="721753"/>
              </a:xfrm>
              <a:custGeom>
                <a:avLst/>
                <a:gdLst>
                  <a:gd name="connsiteX0" fmla="*/ 716770 w 719480"/>
                  <a:gd name="connsiteY0" fmla="*/ 240283 h 721753"/>
                  <a:gd name="connsiteX1" fmla="*/ 716770 w 719480"/>
                  <a:gd name="connsiteY1" fmla="*/ 222217 h 721753"/>
                  <a:gd name="connsiteX2" fmla="*/ 285886 w 719480"/>
                  <a:gd name="connsiteY2" fmla="*/ 0 h 721753"/>
                  <a:gd name="connsiteX3" fmla="*/ 6759 w 719480"/>
                  <a:gd name="connsiteY3" fmla="*/ 83105 h 721753"/>
                  <a:gd name="connsiteX4" fmla="*/ 2243 w 719480"/>
                  <a:gd name="connsiteY4" fmla="*/ 102978 h 721753"/>
                  <a:gd name="connsiteX5" fmla="*/ 22116 w 719480"/>
                  <a:gd name="connsiteY5" fmla="*/ 107495 h 721753"/>
                  <a:gd name="connsiteX6" fmla="*/ 22116 w 719480"/>
                  <a:gd name="connsiteY6" fmla="*/ 107495 h 721753"/>
                  <a:gd name="connsiteX7" fmla="*/ 139548 w 719480"/>
                  <a:gd name="connsiteY7" fmla="*/ 52393 h 721753"/>
                  <a:gd name="connsiteX8" fmla="*/ 106125 w 719480"/>
                  <a:gd name="connsiteY8" fmla="*/ 376685 h 721753"/>
                  <a:gd name="connsiteX9" fmla="*/ 141354 w 719480"/>
                  <a:gd name="connsiteY9" fmla="*/ 411011 h 721753"/>
                  <a:gd name="connsiteX10" fmla="*/ 141354 w 719480"/>
                  <a:gd name="connsiteY10" fmla="*/ 432691 h 721753"/>
                  <a:gd name="connsiteX11" fmla="*/ 97995 w 719480"/>
                  <a:gd name="connsiteY11" fmla="*/ 476050 h 721753"/>
                  <a:gd name="connsiteX12" fmla="*/ 141354 w 719480"/>
                  <a:gd name="connsiteY12" fmla="*/ 519410 h 721753"/>
                  <a:gd name="connsiteX13" fmla="*/ 430417 w 719480"/>
                  <a:gd name="connsiteY13" fmla="*/ 519410 h 721753"/>
                  <a:gd name="connsiteX14" fmla="*/ 444870 w 719480"/>
                  <a:gd name="connsiteY14" fmla="*/ 533863 h 721753"/>
                  <a:gd name="connsiteX15" fmla="*/ 430417 w 719480"/>
                  <a:gd name="connsiteY15" fmla="*/ 548316 h 721753"/>
                  <a:gd name="connsiteX16" fmla="*/ 141354 w 719480"/>
                  <a:gd name="connsiteY16" fmla="*/ 548316 h 721753"/>
                  <a:gd name="connsiteX17" fmla="*/ 126901 w 719480"/>
                  <a:gd name="connsiteY17" fmla="*/ 562769 h 721753"/>
                  <a:gd name="connsiteX18" fmla="*/ 141354 w 719480"/>
                  <a:gd name="connsiteY18" fmla="*/ 577222 h 721753"/>
                  <a:gd name="connsiteX19" fmla="*/ 285886 w 719480"/>
                  <a:gd name="connsiteY19" fmla="*/ 721754 h 721753"/>
                  <a:gd name="connsiteX20" fmla="*/ 430417 w 719480"/>
                  <a:gd name="connsiteY20" fmla="*/ 577222 h 721753"/>
                  <a:gd name="connsiteX21" fmla="*/ 473777 w 719480"/>
                  <a:gd name="connsiteY21" fmla="*/ 533863 h 721753"/>
                  <a:gd name="connsiteX22" fmla="*/ 462937 w 719480"/>
                  <a:gd name="connsiteY22" fmla="*/ 504956 h 721753"/>
                  <a:gd name="connsiteX23" fmla="*/ 460227 w 719480"/>
                  <a:gd name="connsiteY23" fmla="*/ 443531 h 721753"/>
                  <a:gd name="connsiteX24" fmla="*/ 431321 w 719480"/>
                  <a:gd name="connsiteY24" fmla="*/ 432691 h 721753"/>
                  <a:gd name="connsiteX25" fmla="*/ 431321 w 719480"/>
                  <a:gd name="connsiteY25" fmla="*/ 411011 h 721753"/>
                  <a:gd name="connsiteX26" fmla="*/ 518039 w 719480"/>
                  <a:gd name="connsiteY26" fmla="*/ 230347 h 721753"/>
                  <a:gd name="connsiteX27" fmla="*/ 512620 w 719480"/>
                  <a:gd name="connsiteY27" fmla="*/ 180664 h 721753"/>
                  <a:gd name="connsiteX28" fmla="*/ 495456 w 719480"/>
                  <a:gd name="connsiteY28" fmla="*/ 169824 h 721753"/>
                  <a:gd name="connsiteX29" fmla="*/ 484617 w 719480"/>
                  <a:gd name="connsiteY29" fmla="*/ 186987 h 721753"/>
                  <a:gd name="connsiteX30" fmla="*/ 484617 w 719480"/>
                  <a:gd name="connsiteY30" fmla="*/ 186987 h 721753"/>
                  <a:gd name="connsiteX31" fmla="*/ 489133 w 719480"/>
                  <a:gd name="connsiteY31" fmla="*/ 230347 h 721753"/>
                  <a:gd name="connsiteX32" fmla="*/ 407834 w 719480"/>
                  <a:gd name="connsiteY32" fmla="*/ 392041 h 721753"/>
                  <a:gd name="connsiteX33" fmla="*/ 402414 w 719480"/>
                  <a:gd name="connsiteY33" fmla="*/ 403784 h 721753"/>
                  <a:gd name="connsiteX34" fmla="*/ 402414 w 719480"/>
                  <a:gd name="connsiteY34" fmla="*/ 432691 h 721753"/>
                  <a:gd name="connsiteX35" fmla="*/ 344602 w 719480"/>
                  <a:gd name="connsiteY35" fmla="*/ 432691 h 721753"/>
                  <a:gd name="connsiteX36" fmla="*/ 344602 w 719480"/>
                  <a:gd name="connsiteY36" fmla="*/ 330615 h 721753"/>
                  <a:gd name="connsiteX37" fmla="*/ 395188 w 719480"/>
                  <a:gd name="connsiteY37" fmla="*/ 190601 h 721753"/>
                  <a:gd name="connsiteX38" fmla="*/ 383444 w 719480"/>
                  <a:gd name="connsiteY38" fmla="*/ 181567 h 721753"/>
                  <a:gd name="connsiteX39" fmla="*/ 369895 w 719480"/>
                  <a:gd name="connsiteY39" fmla="*/ 188794 h 721753"/>
                  <a:gd name="connsiteX40" fmla="*/ 345505 w 719480"/>
                  <a:gd name="connsiteY40" fmla="*/ 202344 h 721753"/>
                  <a:gd name="connsiteX41" fmla="*/ 316599 w 719480"/>
                  <a:gd name="connsiteY41" fmla="*/ 173437 h 721753"/>
                  <a:gd name="connsiteX42" fmla="*/ 330149 w 719480"/>
                  <a:gd name="connsiteY42" fmla="*/ 149048 h 721753"/>
                  <a:gd name="connsiteX43" fmla="*/ 334665 w 719480"/>
                  <a:gd name="connsiteY43" fmla="*/ 129175 h 721753"/>
                  <a:gd name="connsiteX44" fmla="*/ 327439 w 719480"/>
                  <a:gd name="connsiteY44" fmla="*/ 122852 h 721753"/>
                  <a:gd name="connsiteX45" fmla="*/ 179294 w 719480"/>
                  <a:gd name="connsiteY45" fmla="*/ 190601 h 721753"/>
                  <a:gd name="connsiteX46" fmla="*/ 172067 w 719480"/>
                  <a:gd name="connsiteY46" fmla="*/ 231250 h 721753"/>
                  <a:gd name="connsiteX47" fmla="*/ 229880 w 719480"/>
                  <a:gd name="connsiteY47" fmla="*/ 331519 h 721753"/>
                  <a:gd name="connsiteX48" fmla="*/ 229880 w 719480"/>
                  <a:gd name="connsiteY48" fmla="*/ 433594 h 721753"/>
                  <a:gd name="connsiteX49" fmla="*/ 172067 w 719480"/>
                  <a:gd name="connsiteY49" fmla="*/ 433594 h 721753"/>
                  <a:gd name="connsiteX50" fmla="*/ 172067 w 719480"/>
                  <a:gd name="connsiteY50" fmla="*/ 404688 h 721753"/>
                  <a:gd name="connsiteX51" fmla="*/ 166647 w 719480"/>
                  <a:gd name="connsiteY51" fmla="*/ 392945 h 721753"/>
                  <a:gd name="connsiteX52" fmla="*/ 126901 w 719480"/>
                  <a:gd name="connsiteY52" fmla="*/ 110205 h 721753"/>
                  <a:gd name="connsiteX53" fmla="*/ 409641 w 719480"/>
                  <a:gd name="connsiteY53" fmla="*/ 70459 h 721753"/>
                  <a:gd name="connsiteX54" fmla="*/ 467453 w 719480"/>
                  <a:gd name="connsiteY54" fmla="*/ 138208 h 721753"/>
                  <a:gd name="connsiteX55" fmla="*/ 487326 w 719480"/>
                  <a:gd name="connsiteY55" fmla="*/ 144531 h 721753"/>
                  <a:gd name="connsiteX56" fmla="*/ 493650 w 719480"/>
                  <a:gd name="connsiteY56" fmla="*/ 124658 h 721753"/>
                  <a:gd name="connsiteX57" fmla="*/ 434934 w 719480"/>
                  <a:gd name="connsiteY57" fmla="*/ 53296 h 721753"/>
                  <a:gd name="connsiteX58" fmla="*/ 688767 w 719480"/>
                  <a:gd name="connsiteY58" fmla="*/ 232153 h 721753"/>
                  <a:gd name="connsiteX59" fmla="*/ 484617 w 719480"/>
                  <a:gd name="connsiteY59" fmla="*/ 392041 h 721753"/>
                  <a:gd name="connsiteX60" fmla="*/ 477390 w 719480"/>
                  <a:gd name="connsiteY60" fmla="*/ 411011 h 721753"/>
                  <a:gd name="connsiteX61" fmla="*/ 496360 w 719480"/>
                  <a:gd name="connsiteY61" fmla="*/ 418238 h 721753"/>
                  <a:gd name="connsiteX62" fmla="*/ 716770 w 719480"/>
                  <a:gd name="connsiteY62" fmla="*/ 240283 h 721753"/>
                  <a:gd name="connsiteX63" fmla="*/ 286789 w 719480"/>
                  <a:gd name="connsiteY63" fmla="*/ 693751 h 721753"/>
                  <a:gd name="connsiteX64" fmla="*/ 171164 w 719480"/>
                  <a:gd name="connsiteY64" fmla="*/ 578126 h 721753"/>
                  <a:gd name="connsiteX65" fmla="*/ 402414 w 719480"/>
                  <a:gd name="connsiteY65" fmla="*/ 578126 h 721753"/>
                  <a:gd name="connsiteX66" fmla="*/ 286789 w 719480"/>
                  <a:gd name="connsiteY66" fmla="*/ 693751 h 721753"/>
                  <a:gd name="connsiteX67" fmla="*/ 445774 w 719480"/>
                  <a:gd name="connsiteY67" fmla="*/ 476954 h 721753"/>
                  <a:gd name="connsiteX68" fmla="*/ 431321 w 719480"/>
                  <a:gd name="connsiteY68" fmla="*/ 491407 h 721753"/>
                  <a:gd name="connsiteX69" fmla="*/ 142258 w 719480"/>
                  <a:gd name="connsiteY69" fmla="*/ 491407 h 721753"/>
                  <a:gd name="connsiteX70" fmla="*/ 127805 w 719480"/>
                  <a:gd name="connsiteY70" fmla="*/ 476954 h 721753"/>
                  <a:gd name="connsiteX71" fmla="*/ 142258 w 719480"/>
                  <a:gd name="connsiteY71" fmla="*/ 462500 h 721753"/>
                  <a:gd name="connsiteX72" fmla="*/ 431321 w 719480"/>
                  <a:gd name="connsiteY72" fmla="*/ 462500 h 721753"/>
                  <a:gd name="connsiteX73" fmla="*/ 445774 w 719480"/>
                  <a:gd name="connsiteY73" fmla="*/ 476954 h 721753"/>
                  <a:gd name="connsiteX74" fmla="*/ 249753 w 719480"/>
                  <a:gd name="connsiteY74" fmla="*/ 309839 h 721753"/>
                  <a:gd name="connsiteX75" fmla="*/ 209104 w 719480"/>
                  <a:gd name="connsiteY75" fmla="*/ 194214 h 721753"/>
                  <a:gd name="connsiteX76" fmla="*/ 286789 w 719480"/>
                  <a:gd name="connsiteY76" fmla="*/ 144531 h 721753"/>
                  <a:gd name="connsiteX77" fmla="*/ 294016 w 719480"/>
                  <a:gd name="connsiteY77" fmla="*/ 144531 h 721753"/>
                  <a:gd name="connsiteX78" fmla="*/ 315695 w 719480"/>
                  <a:gd name="connsiteY78" fmla="*/ 223120 h 721753"/>
                  <a:gd name="connsiteX79" fmla="*/ 372605 w 719480"/>
                  <a:gd name="connsiteY79" fmla="*/ 223120 h 721753"/>
                  <a:gd name="connsiteX80" fmla="*/ 372605 w 719480"/>
                  <a:gd name="connsiteY80" fmla="*/ 230347 h 721753"/>
                  <a:gd name="connsiteX81" fmla="*/ 322922 w 719480"/>
                  <a:gd name="connsiteY81" fmla="*/ 308936 h 721753"/>
                  <a:gd name="connsiteX82" fmla="*/ 314792 w 719480"/>
                  <a:gd name="connsiteY82" fmla="*/ 321582 h 721753"/>
                  <a:gd name="connsiteX83" fmla="*/ 314792 w 719480"/>
                  <a:gd name="connsiteY83" fmla="*/ 432691 h 721753"/>
                  <a:gd name="connsiteX84" fmla="*/ 257883 w 719480"/>
                  <a:gd name="connsiteY84" fmla="*/ 432691 h 721753"/>
                  <a:gd name="connsiteX85" fmla="*/ 257883 w 719480"/>
                  <a:gd name="connsiteY85" fmla="*/ 321582 h 721753"/>
                  <a:gd name="connsiteX86" fmla="*/ 249753 w 719480"/>
                  <a:gd name="connsiteY86" fmla="*/ 309839 h 72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19480" h="721753">
                    <a:moveTo>
                      <a:pt x="716770" y="240283"/>
                    </a:moveTo>
                    <a:cubicBezTo>
                      <a:pt x="720384" y="234864"/>
                      <a:pt x="720384" y="227637"/>
                      <a:pt x="716770" y="222217"/>
                    </a:cubicBezTo>
                    <a:cubicBezTo>
                      <a:pt x="607468" y="81299"/>
                      <a:pt x="450290" y="0"/>
                      <a:pt x="285886" y="0"/>
                    </a:cubicBezTo>
                    <a:cubicBezTo>
                      <a:pt x="186520" y="0"/>
                      <a:pt x="89865" y="28906"/>
                      <a:pt x="6759" y="83105"/>
                    </a:cubicBezTo>
                    <a:cubicBezTo>
                      <a:pt x="436" y="87622"/>
                      <a:pt x="-2274" y="96655"/>
                      <a:pt x="2243" y="102978"/>
                    </a:cubicBezTo>
                    <a:cubicBezTo>
                      <a:pt x="6759" y="109302"/>
                      <a:pt x="15793" y="112012"/>
                      <a:pt x="22116" y="107495"/>
                    </a:cubicBezTo>
                    <a:lnTo>
                      <a:pt x="22116" y="107495"/>
                    </a:lnTo>
                    <a:cubicBezTo>
                      <a:pt x="59152" y="84009"/>
                      <a:pt x="97995" y="65942"/>
                      <a:pt x="139548" y="52393"/>
                    </a:cubicBezTo>
                    <a:cubicBezTo>
                      <a:pt x="41086" y="132788"/>
                      <a:pt x="25729" y="278223"/>
                      <a:pt x="106125" y="376685"/>
                    </a:cubicBezTo>
                    <a:cubicBezTo>
                      <a:pt x="116965" y="389331"/>
                      <a:pt x="128708" y="401074"/>
                      <a:pt x="141354" y="411011"/>
                    </a:cubicBezTo>
                    <a:lnTo>
                      <a:pt x="141354" y="432691"/>
                    </a:lnTo>
                    <a:cubicBezTo>
                      <a:pt x="116965" y="432691"/>
                      <a:pt x="97995" y="451661"/>
                      <a:pt x="97995" y="476050"/>
                    </a:cubicBezTo>
                    <a:cubicBezTo>
                      <a:pt x="97995" y="500440"/>
                      <a:pt x="116965" y="519410"/>
                      <a:pt x="141354" y="519410"/>
                    </a:cubicBezTo>
                    <a:lnTo>
                      <a:pt x="430417" y="519410"/>
                    </a:lnTo>
                    <a:cubicBezTo>
                      <a:pt x="438547" y="519410"/>
                      <a:pt x="444870" y="525733"/>
                      <a:pt x="444870" y="533863"/>
                    </a:cubicBezTo>
                    <a:cubicBezTo>
                      <a:pt x="444870" y="541993"/>
                      <a:pt x="438547" y="548316"/>
                      <a:pt x="430417" y="548316"/>
                    </a:cubicBezTo>
                    <a:lnTo>
                      <a:pt x="141354" y="548316"/>
                    </a:lnTo>
                    <a:cubicBezTo>
                      <a:pt x="133224" y="548316"/>
                      <a:pt x="126901" y="554639"/>
                      <a:pt x="126901" y="562769"/>
                    </a:cubicBezTo>
                    <a:cubicBezTo>
                      <a:pt x="126901" y="570899"/>
                      <a:pt x="133224" y="577222"/>
                      <a:pt x="141354" y="577222"/>
                    </a:cubicBezTo>
                    <a:cubicBezTo>
                      <a:pt x="141354" y="656714"/>
                      <a:pt x="206394" y="721754"/>
                      <a:pt x="285886" y="721754"/>
                    </a:cubicBezTo>
                    <a:cubicBezTo>
                      <a:pt x="365378" y="721754"/>
                      <a:pt x="430417" y="656714"/>
                      <a:pt x="430417" y="577222"/>
                    </a:cubicBezTo>
                    <a:cubicBezTo>
                      <a:pt x="453904" y="577222"/>
                      <a:pt x="473777" y="558253"/>
                      <a:pt x="473777" y="533863"/>
                    </a:cubicBezTo>
                    <a:cubicBezTo>
                      <a:pt x="473777" y="523023"/>
                      <a:pt x="470163" y="512183"/>
                      <a:pt x="462937" y="504956"/>
                    </a:cubicBezTo>
                    <a:cubicBezTo>
                      <a:pt x="479197" y="486890"/>
                      <a:pt x="477390" y="459790"/>
                      <a:pt x="460227" y="443531"/>
                    </a:cubicBezTo>
                    <a:cubicBezTo>
                      <a:pt x="452097" y="436304"/>
                      <a:pt x="442160" y="431788"/>
                      <a:pt x="431321" y="432691"/>
                    </a:cubicBezTo>
                    <a:lnTo>
                      <a:pt x="431321" y="411011"/>
                    </a:lnTo>
                    <a:cubicBezTo>
                      <a:pt x="486423" y="367651"/>
                      <a:pt x="518039" y="300806"/>
                      <a:pt x="518039" y="230347"/>
                    </a:cubicBezTo>
                    <a:cubicBezTo>
                      <a:pt x="518039" y="214087"/>
                      <a:pt x="516233" y="196924"/>
                      <a:pt x="512620" y="180664"/>
                    </a:cubicBezTo>
                    <a:cubicBezTo>
                      <a:pt x="510813" y="172534"/>
                      <a:pt x="503586" y="168018"/>
                      <a:pt x="495456" y="169824"/>
                    </a:cubicBezTo>
                    <a:cubicBezTo>
                      <a:pt x="487326" y="171631"/>
                      <a:pt x="482810" y="178858"/>
                      <a:pt x="484617" y="186987"/>
                    </a:cubicBezTo>
                    <a:cubicBezTo>
                      <a:pt x="484617" y="186987"/>
                      <a:pt x="484617" y="186987"/>
                      <a:pt x="484617" y="186987"/>
                    </a:cubicBezTo>
                    <a:cubicBezTo>
                      <a:pt x="487326" y="201441"/>
                      <a:pt x="489133" y="215894"/>
                      <a:pt x="489133" y="230347"/>
                    </a:cubicBezTo>
                    <a:cubicBezTo>
                      <a:pt x="489133" y="293579"/>
                      <a:pt x="459324" y="354102"/>
                      <a:pt x="407834" y="392041"/>
                    </a:cubicBezTo>
                    <a:cubicBezTo>
                      <a:pt x="404221" y="394751"/>
                      <a:pt x="402414" y="399268"/>
                      <a:pt x="402414" y="403784"/>
                    </a:cubicBezTo>
                    <a:lnTo>
                      <a:pt x="402414" y="432691"/>
                    </a:lnTo>
                    <a:lnTo>
                      <a:pt x="344602" y="432691"/>
                    </a:lnTo>
                    <a:lnTo>
                      <a:pt x="344602" y="330615"/>
                    </a:lnTo>
                    <a:cubicBezTo>
                      <a:pt x="393381" y="302613"/>
                      <a:pt x="415061" y="242993"/>
                      <a:pt x="395188" y="190601"/>
                    </a:cubicBezTo>
                    <a:cubicBezTo>
                      <a:pt x="393381" y="185181"/>
                      <a:pt x="388864" y="181567"/>
                      <a:pt x="383444" y="181567"/>
                    </a:cubicBezTo>
                    <a:cubicBezTo>
                      <a:pt x="378025" y="180664"/>
                      <a:pt x="372605" y="183374"/>
                      <a:pt x="369895" y="188794"/>
                    </a:cubicBezTo>
                    <a:cubicBezTo>
                      <a:pt x="364475" y="197827"/>
                      <a:pt x="355442" y="202344"/>
                      <a:pt x="345505" y="202344"/>
                    </a:cubicBezTo>
                    <a:cubicBezTo>
                      <a:pt x="329245" y="202344"/>
                      <a:pt x="316599" y="189698"/>
                      <a:pt x="316599" y="173437"/>
                    </a:cubicBezTo>
                    <a:cubicBezTo>
                      <a:pt x="316599" y="163501"/>
                      <a:pt x="322019" y="154468"/>
                      <a:pt x="330149" y="149048"/>
                    </a:cubicBezTo>
                    <a:cubicBezTo>
                      <a:pt x="337375" y="144531"/>
                      <a:pt x="339182" y="136401"/>
                      <a:pt x="334665" y="129175"/>
                    </a:cubicBezTo>
                    <a:cubicBezTo>
                      <a:pt x="332859" y="126465"/>
                      <a:pt x="330149" y="124658"/>
                      <a:pt x="327439" y="122852"/>
                    </a:cubicBezTo>
                    <a:cubicBezTo>
                      <a:pt x="267819" y="100268"/>
                      <a:pt x="200974" y="130982"/>
                      <a:pt x="179294" y="190601"/>
                    </a:cubicBezTo>
                    <a:cubicBezTo>
                      <a:pt x="174777" y="203247"/>
                      <a:pt x="172067" y="217700"/>
                      <a:pt x="172067" y="231250"/>
                    </a:cubicBezTo>
                    <a:cubicBezTo>
                      <a:pt x="172067" y="272803"/>
                      <a:pt x="194650" y="310742"/>
                      <a:pt x="229880" y="331519"/>
                    </a:cubicBezTo>
                    <a:lnTo>
                      <a:pt x="229880" y="433594"/>
                    </a:lnTo>
                    <a:lnTo>
                      <a:pt x="172067" y="433594"/>
                    </a:lnTo>
                    <a:lnTo>
                      <a:pt x="172067" y="404688"/>
                    </a:lnTo>
                    <a:cubicBezTo>
                      <a:pt x="172067" y="400171"/>
                      <a:pt x="170261" y="395655"/>
                      <a:pt x="166647" y="392945"/>
                    </a:cubicBezTo>
                    <a:cubicBezTo>
                      <a:pt x="77219" y="326099"/>
                      <a:pt x="59152" y="198731"/>
                      <a:pt x="126901" y="110205"/>
                    </a:cubicBezTo>
                    <a:cubicBezTo>
                      <a:pt x="193747" y="20776"/>
                      <a:pt x="321115" y="2710"/>
                      <a:pt x="409641" y="70459"/>
                    </a:cubicBezTo>
                    <a:cubicBezTo>
                      <a:pt x="434031" y="88525"/>
                      <a:pt x="453000" y="112012"/>
                      <a:pt x="467453" y="138208"/>
                    </a:cubicBezTo>
                    <a:cubicBezTo>
                      <a:pt x="471067" y="145435"/>
                      <a:pt x="480100" y="148144"/>
                      <a:pt x="487326" y="144531"/>
                    </a:cubicBezTo>
                    <a:cubicBezTo>
                      <a:pt x="494553" y="140918"/>
                      <a:pt x="497263" y="131885"/>
                      <a:pt x="493650" y="124658"/>
                    </a:cubicBezTo>
                    <a:cubicBezTo>
                      <a:pt x="479197" y="97559"/>
                      <a:pt x="459324" y="73169"/>
                      <a:pt x="434934" y="53296"/>
                    </a:cubicBezTo>
                    <a:cubicBezTo>
                      <a:pt x="535203" y="86719"/>
                      <a:pt x="623728" y="149048"/>
                      <a:pt x="688767" y="232153"/>
                    </a:cubicBezTo>
                    <a:cubicBezTo>
                      <a:pt x="634568" y="300806"/>
                      <a:pt x="564109" y="355908"/>
                      <a:pt x="484617" y="392041"/>
                    </a:cubicBezTo>
                    <a:cubicBezTo>
                      <a:pt x="477390" y="395655"/>
                      <a:pt x="473777" y="403784"/>
                      <a:pt x="477390" y="411011"/>
                    </a:cubicBezTo>
                    <a:cubicBezTo>
                      <a:pt x="481003" y="418238"/>
                      <a:pt x="489133" y="421851"/>
                      <a:pt x="496360" y="418238"/>
                    </a:cubicBezTo>
                    <a:cubicBezTo>
                      <a:pt x="582175" y="377588"/>
                      <a:pt x="658958" y="317066"/>
                      <a:pt x="716770" y="240283"/>
                    </a:cubicBezTo>
                    <a:close/>
                    <a:moveTo>
                      <a:pt x="286789" y="693751"/>
                    </a:moveTo>
                    <a:cubicBezTo>
                      <a:pt x="222653" y="693751"/>
                      <a:pt x="171164" y="642261"/>
                      <a:pt x="171164" y="578126"/>
                    </a:cubicBezTo>
                    <a:lnTo>
                      <a:pt x="402414" y="578126"/>
                    </a:lnTo>
                    <a:cubicBezTo>
                      <a:pt x="402414" y="642261"/>
                      <a:pt x="350022" y="693751"/>
                      <a:pt x="286789" y="693751"/>
                    </a:cubicBezTo>
                    <a:close/>
                    <a:moveTo>
                      <a:pt x="445774" y="476954"/>
                    </a:moveTo>
                    <a:cubicBezTo>
                      <a:pt x="445774" y="485083"/>
                      <a:pt x="439451" y="491407"/>
                      <a:pt x="431321" y="491407"/>
                    </a:cubicBezTo>
                    <a:lnTo>
                      <a:pt x="142258" y="491407"/>
                    </a:lnTo>
                    <a:cubicBezTo>
                      <a:pt x="134128" y="491407"/>
                      <a:pt x="127805" y="485083"/>
                      <a:pt x="127805" y="476954"/>
                    </a:cubicBezTo>
                    <a:cubicBezTo>
                      <a:pt x="127805" y="468824"/>
                      <a:pt x="134128" y="462500"/>
                      <a:pt x="142258" y="462500"/>
                    </a:cubicBezTo>
                    <a:lnTo>
                      <a:pt x="431321" y="462500"/>
                    </a:lnTo>
                    <a:cubicBezTo>
                      <a:pt x="439451" y="462500"/>
                      <a:pt x="445774" y="468824"/>
                      <a:pt x="445774" y="476954"/>
                    </a:cubicBezTo>
                    <a:close/>
                    <a:moveTo>
                      <a:pt x="249753" y="309839"/>
                    </a:moveTo>
                    <a:cubicBezTo>
                      <a:pt x="206394" y="289063"/>
                      <a:pt x="188327" y="237573"/>
                      <a:pt x="209104" y="194214"/>
                    </a:cubicBezTo>
                    <a:cubicBezTo>
                      <a:pt x="223557" y="164404"/>
                      <a:pt x="253366" y="144531"/>
                      <a:pt x="286789" y="144531"/>
                    </a:cubicBezTo>
                    <a:cubicBezTo>
                      <a:pt x="289499" y="144531"/>
                      <a:pt x="292209" y="144531"/>
                      <a:pt x="294016" y="144531"/>
                    </a:cubicBezTo>
                    <a:cubicBezTo>
                      <a:pt x="278659" y="172534"/>
                      <a:pt x="287692" y="207764"/>
                      <a:pt x="315695" y="223120"/>
                    </a:cubicBezTo>
                    <a:cubicBezTo>
                      <a:pt x="333762" y="233057"/>
                      <a:pt x="355442" y="233057"/>
                      <a:pt x="372605" y="223120"/>
                    </a:cubicBezTo>
                    <a:cubicBezTo>
                      <a:pt x="372605" y="225830"/>
                      <a:pt x="372605" y="228540"/>
                      <a:pt x="372605" y="230347"/>
                    </a:cubicBezTo>
                    <a:cubicBezTo>
                      <a:pt x="372605" y="263769"/>
                      <a:pt x="353635" y="294483"/>
                      <a:pt x="322922" y="308936"/>
                    </a:cubicBezTo>
                    <a:cubicBezTo>
                      <a:pt x="317502" y="311646"/>
                      <a:pt x="314792" y="316163"/>
                      <a:pt x="314792" y="321582"/>
                    </a:cubicBezTo>
                    <a:lnTo>
                      <a:pt x="314792" y="432691"/>
                    </a:lnTo>
                    <a:lnTo>
                      <a:pt x="257883" y="432691"/>
                    </a:lnTo>
                    <a:lnTo>
                      <a:pt x="257883" y="321582"/>
                    </a:lnTo>
                    <a:cubicBezTo>
                      <a:pt x="257883" y="317066"/>
                      <a:pt x="254270" y="311646"/>
                      <a:pt x="249753" y="3098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0C4F5F74-0B26-6BB6-3BE0-B7E7AA365A0F}"/>
                  </a:ext>
                </a:extLst>
              </p:cNvPr>
              <p:cNvSpPr/>
              <p:nvPr/>
            </p:nvSpPr>
            <p:spPr>
              <a:xfrm>
                <a:off x="4624471" y="4418950"/>
                <a:ext cx="67640" cy="74866"/>
              </a:xfrm>
              <a:custGeom>
                <a:avLst/>
                <a:gdLst>
                  <a:gd name="connsiteX0" fmla="*/ 26142 w 67640"/>
                  <a:gd name="connsiteY0" fmla="*/ 5365 h 74866"/>
                  <a:gd name="connsiteX1" fmla="*/ 5365 w 67640"/>
                  <a:gd name="connsiteY1" fmla="*/ 3559 h 74866"/>
                  <a:gd name="connsiteX2" fmla="*/ 3559 w 67640"/>
                  <a:gd name="connsiteY2" fmla="*/ 24336 h 74866"/>
                  <a:gd name="connsiteX3" fmla="*/ 41498 w 67640"/>
                  <a:gd name="connsiteY3" fmla="*/ 69502 h 74866"/>
                  <a:gd name="connsiteX4" fmla="*/ 62275 w 67640"/>
                  <a:gd name="connsiteY4" fmla="*/ 71308 h 74866"/>
                  <a:gd name="connsiteX5" fmla="*/ 64081 w 67640"/>
                  <a:gd name="connsiteY5" fmla="*/ 50532 h 74866"/>
                  <a:gd name="connsiteX6" fmla="*/ 26142 w 67640"/>
                  <a:gd name="connsiteY6" fmla="*/ 5365 h 7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40" h="74866">
                    <a:moveTo>
                      <a:pt x="26142" y="5365"/>
                    </a:moveTo>
                    <a:cubicBezTo>
                      <a:pt x="20722" y="-958"/>
                      <a:pt x="11689" y="-1861"/>
                      <a:pt x="5365" y="3559"/>
                    </a:cubicBezTo>
                    <a:cubicBezTo>
                      <a:pt x="-958" y="8979"/>
                      <a:pt x="-1861" y="18012"/>
                      <a:pt x="3559" y="24336"/>
                    </a:cubicBezTo>
                    <a:lnTo>
                      <a:pt x="41498" y="69502"/>
                    </a:lnTo>
                    <a:cubicBezTo>
                      <a:pt x="46918" y="75824"/>
                      <a:pt x="55952" y="76728"/>
                      <a:pt x="62275" y="71308"/>
                    </a:cubicBezTo>
                    <a:cubicBezTo>
                      <a:pt x="68598" y="65888"/>
                      <a:pt x="69501" y="56855"/>
                      <a:pt x="64081" y="50532"/>
                    </a:cubicBezTo>
                    <a:lnTo>
                      <a:pt x="26142" y="53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3" name="Freeform 32">
                <a:extLst>
                  <a:ext uri="{FF2B5EF4-FFF2-40B4-BE49-F238E27FC236}">
                    <a16:creationId xmlns:a16="http://schemas.microsoft.com/office/drawing/2014/main" id="{E07264BE-D76D-0B45-35AD-889033F992E9}"/>
                  </a:ext>
                </a:extLst>
              </p:cNvPr>
              <p:cNvSpPr/>
              <p:nvPr/>
            </p:nvSpPr>
            <p:spPr>
              <a:xfrm>
                <a:off x="4712914" y="4346602"/>
                <a:ext cx="73378" cy="67436"/>
              </a:xfrm>
              <a:custGeom>
                <a:avLst/>
                <a:gdLst>
                  <a:gd name="connsiteX0" fmla="*/ 24418 w 73378"/>
                  <a:gd name="connsiteY0" fmla="*/ 3641 h 67436"/>
                  <a:gd name="connsiteX1" fmla="*/ 3641 w 73378"/>
                  <a:gd name="connsiteY1" fmla="*/ 4545 h 67436"/>
                  <a:gd name="connsiteX2" fmla="*/ 4545 w 73378"/>
                  <a:gd name="connsiteY2" fmla="*/ 25321 h 67436"/>
                  <a:gd name="connsiteX3" fmla="*/ 5448 w 73378"/>
                  <a:gd name="connsiteY3" fmla="*/ 26224 h 67436"/>
                  <a:gd name="connsiteX4" fmla="*/ 50614 w 73378"/>
                  <a:gd name="connsiteY4" fmla="*/ 64164 h 67436"/>
                  <a:gd name="connsiteX5" fmla="*/ 70487 w 73378"/>
                  <a:gd name="connsiteY5" fmla="*/ 62357 h 67436"/>
                  <a:gd name="connsiteX6" fmla="*/ 68680 w 73378"/>
                  <a:gd name="connsiteY6" fmla="*/ 42485 h 67436"/>
                  <a:gd name="connsiteX7" fmla="*/ 24418 w 73378"/>
                  <a:gd name="connsiteY7" fmla="*/ 3641 h 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378" h="67436">
                    <a:moveTo>
                      <a:pt x="24418" y="3641"/>
                    </a:moveTo>
                    <a:cubicBezTo>
                      <a:pt x="18095" y="-1778"/>
                      <a:pt x="9061" y="-875"/>
                      <a:pt x="3641" y="4545"/>
                    </a:cubicBezTo>
                    <a:cubicBezTo>
                      <a:pt x="-1779" y="10868"/>
                      <a:pt x="-875" y="19901"/>
                      <a:pt x="4545" y="25321"/>
                    </a:cubicBezTo>
                    <a:cubicBezTo>
                      <a:pt x="4545" y="25321"/>
                      <a:pt x="5448" y="25321"/>
                      <a:pt x="5448" y="26224"/>
                    </a:cubicBezTo>
                    <a:lnTo>
                      <a:pt x="50614" y="64164"/>
                    </a:lnTo>
                    <a:cubicBezTo>
                      <a:pt x="56937" y="69584"/>
                      <a:pt x="65971" y="67777"/>
                      <a:pt x="70487" y="62357"/>
                    </a:cubicBezTo>
                    <a:cubicBezTo>
                      <a:pt x="75004" y="56034"/>
                      <a:pt x="74100" y="47904"/>
                      <a:pt x="68680" y="42485"/>
                    </a:cubicBezTo>
                    <a:lnTo>
                      <a:pt x="24418" y="3641"/>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EE107353-6778-6423-9AE8-CE8E111ADE87}"/>
                  </a:ext>
                </a:extLst>
              </p:cNvPr>
              <p:cNvSpPr/>
              <p:nvPr/>
            </p:nvSpPr>
            <p:spPr>
              <a:xfrm>
                <a:off x="4011116" y="4418950"/>
                <a:ext cx="67640" cy="74866"/>
              </a:xfrm>
              <a:custGeom>
                <a:avLst/>
                <a:gdLst>
                  <a:gd name="connsiteX0" fmla="*/ 41498 w 67640"/>
                  <a:gd name="connsiteY0" fmla="*/ 5365 h 74866"/>
                  <a:gd name="connsiteX1" fmla="*/ 3559 w 67640"/>
                  <a:gd name="connsiteY1" fmla="*/ 50532 h 74866"/>
                  <a:gd name="connsiteX2" fmla="*/ 5366 w 67640"/>
                  <a:gd name="connsiteY2" fmla="*/ 71308 h 74866"/>
                  <a:gd name="connsiteX3" fmla="*/ 26142 w 67640"/>
                  <a:gd name="connsiteY3" fmla="*/ 69502 h 74866"/>
                  <a:gd name="connsiteX4" fmla="*/ 64081 w 67640"/>
                  <a:gd name="connsiteY4" fmla="*/ 24336 h 74866"/>
                  <a:gd name="connsiteX5" fmla="*/ 62275 w 67640"/>
                  <a:gd name="connsiteY5" fmla="*/ 3559 h 74866"/>
                  <a:gd name="connsiteX6" fmla="*/ 41498 w 67640"/>
                  <a:gd name="connsiteY6" fmla="*/ 5365 h 74866"/>
                  <a:gd name="connsiteX7" fmla="*/ 41498 w 67640"/>
                  <a:gd name="connsiteY7" fmla="*/ 5365 h 74866"/>
                  <a:gd name="connsiteX8" fmla="*/ 41498 w 67640"/>
                  <a:gd name="connsiteY8" fmla="*/ 5365 h 7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40" h="74866">
                    <a:moveTo>
                      <a:pt x="41498" y="5365"/>
                    </a:moveTo>
                    <a:lnTo>
                      <a:pt x="3559" y="50532"/>
                    </a:lnTo>
                    <a:cubicBezTo>
                      <a:pt x="-1861" y="56855"/>
                      <a:pt x="-958" y="65888"/>
                      <a:pt x="5366" y="71308"/>
                    </a:cubicBezTo>
                    <a:cubicBezTo>
                      <a:pt x="11689" y="76728"/>
                      <a:pt x="20722" y="75824"/>
                      <a:pt x="26142" y="69502"/>
                    </a:cubicBezTo>
                    <a:lnTo>
                      <a:pt x="64081" y="24336"/>
                    </a:lnTo>
                    <a:cubicBezTo>
                      <a:pt x="69501" y="18012"/>
                      <a:pt x="68598" y="8979"/>
                      <a:pt x="62275" y="3559"/>
                    </a:cubicBezTo>
                    <a:cubicBezTo>
                      <a:pt x="55951" y="-1861"/>
                      <a:pt x="46918" y="-958"/>
                      <a:pt x="41498" y="5365"/>
                    </a:cubicBezTo>
                    <a:cubicBezTo>
                      <a:pt x="41498" y="5365"/>
                      <a:pt x="41498" y="5365"/>
                      <a:pt x="41498" y="5365"/>
                    </a:cubicBezTo>
                    <a:lnTo>
                      <a:pt x="41498" y="53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45C9F13C-FAC1-2BF7-FAC7-DBA7266A8C26}"/>
                  </a:ext>
                </a:extLst>
              </p:cNvPr>
              <p:cNvSpPr/>
              <p:nvPr/>
            </p:nvSpPr>
            <p:spPr>
              <a:xfrm>
                <a:off x="3917317" y="4347034"/>
                <a:ext cx="71863" cy="62627"/>
              </a:xfrm>
              <a:custGeom>
                <a:avLst/>
                <a:gdLst>
                  <a:gd name="connsiteX0" fmla="*/ 48578 w 71863"/>
                  <a:gd name="connsiteY0" fmla="*/ 3209 h 62627"/>
                  <a:gd name="connsiteX1" fmla="*/ 6122 w 71863"/>
                  <a:gd name="connsiteY1" fmla="*/ 36632 h 62627"/>
                  <a:gd name="connsiteX2" fmla="*/ 2509 w 71863"/>
                  <a:gd name="connsiteY2" fmla="*/ 56505 h 62627"/>
                  <a:gd name="connsiteX3" fmla="*/ 22382 w 71863"/>
                  <a:gd name="connsiteY3" fmla="*/ 60119 h 62627"/>
                  <a:gd name="connsiteX4" fmla="*/ 23285 w 71863"/>
                  <a:gd name="connsiteY4" fmla="*/ 59215 h 62627"/>
                  <a:gd name="connsiteX5" fmla="*/ 65741 w 71863"/>
                  <a:gd name="connsiteY5" fmla="*/ 25792 h 62627"/>
                  <a:gd name="connsiteX6" fmla="*/ 69355 w 71863"/>
                  <a:gd name="connsiteY6" fmla="*/ 5919 h 62627"/>
                  <a:gd name="connsiteX7" fmla="*/ 48578 w 71863"/>
                  <a:gd name="connsiteY7" fmla="*/ 3209 h 62627"/>
                  <a:gd name="connsiteX8" fmla="*/ 48578 w 71863"/>
                  <a:gd name="connsiteY8" fmla="*/ 3209 h 6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63" h="62627">
                    <a:moveTo>
                      <a:pt x="48578" y="3209"/>
                    </a:moveTo>
                    <a:lnTo>
                      <a:pt x="6122" y="36632"/>
                    </a:lnTo>
                    <a:cubicBezTo>
                      <a:pt x="-201" y="41149"/>
                      <a:pt x="-2008" y="50182"/>
                      <a:pt x="2509" y="56505"/>
                    </a:cubicBezTo>
                    <a:cubicBezTo>
                      <a:pt x="7026" y="62829"/>
                      <a:pt x="16059" y="64635"/>
                      <a:pt x="22382" y="60119"/>
                    </a:cubicBezTo>
                    <a:cubicBezTo>
                      <a:pt x="22382" y="60119"/>
                      <a:pt x="23285" y="60119"/>
                      <a:pt x="23285" y="59215"/>
                    </a:cubicBezTo>
                    <a:lnTo>
                      <a:pt x="65741" y="25792"/>
                    </a:lnTo>
                    <a:cubicBezTo>
                      <a:pt x="72065" y="21275"/>
                      <a:pt x="73871" y="12242"/>
                      <a:pt x="69355" y="5919"/>
                    </a:cubicBezTo>
                    <a:cubicBezTo>
                      <a:pt x="64838" y="-404"/>
                      <a:pt x="55805" y="-2211"/>
                      <a:pt x="48578" y="3209"/>
                    </a:cubicBezTo>
                    <a:cubicBezTo>
                      <a:pt x="49482" y="3209"/>
                      <a:pt x="49482" y="3209"/>
                      <a:pt x="48578" y="32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623373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C33FB1A-88BC-51CB-23A3-197749DAD006}"/>
              </a:ext>
            </a:extLst>
          </p:cNvPr>
          <p:cNvSpPr/>
          <p:nvPr/>
        </p:nvSpPr>
        <p:spPr>
          <a:xfrm>
            <a:off x="0" y="0"/>
            <a:ext cx="12191999" cy="250681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57945C2B-E733-85D4-147B-D61F510FAFE2}"/>
              </a:ext>
            </a:extLst>
          </p:cNvPr>
          <p:cNvSpPr>
            <a:spLocks noGrp="1"/>
          </p:cNvSpPr>
          <p:nvPr>
            <p:ph type="body" sz="quarter" idx="18"/>
          </p:nvPr>
        </p:nvSpPr>
        <p:spPr>
          <a:xfrm>
            <a:off x="3976576" y="229133"/>
            <a:ext cx="7899737" cy="3275230"/>
          </a:xfrm>
        </p:spPr>
        <p:txBody>
          <a:bodyPr>
            <a:normAutofit/>
          </a:bodyPr>
          <a:lstStyle/>
          <a:p>
            <a:pPr marL="0" lvl="0" indent="0" algn="just" defTabSz="1087636">
              <a:lnSpc>
                <a:spcPts val="2240"/>
              </a:lnSpc>
              <a:spcBef>
                <a:spcPts val="0"/>
              </a:spcBef>
              <a:defRPr/>
            </a:pPr>
            <a:r>
              <a:rPr lang="en-GB" sz="2000" dirty="0">
                <a:solidFill>
                  <a:schemeClr val="bg1"/>
                </a:solidFill>
                <a:ea typeface="Open Sans Light" panose="020B0306030504020204" pitchFamily="34" charset="0"/>
                <a:cs typeface="Open Sans Light" panose="020B0306030504020204" pitchFamily="34" charset="0"/>
              </a:rPr>
              <a:t>Εάν κάποιος ρωτήσει τη διοίκηση της ΜΜΕ σχετικά με τα αίτια της κρίσης, οι υπεύθυνοι συνήθως καταλήγουν σε τελείως διαφορετικές αποδόσεις των αιτιών από ό,τι οι εξωτερικοί ενδιαφερόμενοι. Ενώ η διοίκηση τείνει φυσικά να αποδίδει την κρίση σε εξωτερικούς παράγοντες και βλέπει λίγα λάθη εσωτερικά, η εξωτερική άποψη των συμβούλων είναι συχνά αντιφατική.  Μια αντικειμενική άποψη από έξω είναι ιδιαίτερα χρήσιμη σε μια κρίση.</a:t>
            </a:r>
            <a:endParaRPr lang="en-GB" sz="2000" dirty="0">
              <a:solidFill>
                <a:prstClr val="black"/>
              </a:solidFill>
              <a:ea typeface="Open Sans Light" panose="020B0306030504020204" pitchFamily="34" charset="0"/>
              <a:cs typeface="Open Sans Light" panose="020B0306030504020204" pitchFamily="34" charset="0"/>
            </a:endParaRPr>
          </a:p>
          <a:p>
            <a:endParaRPr lang="en-US" dirty="0"/>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a:xfrm>
            <a:off x="315685" y="154172"/>
            <a:ext cx="3660891" cy="2126512"/>
          </a:xfrm>
        </p:spPr>
        <p:txBody>
          <a:bodyPr>
            <a:noAutofit/>
          </a:bodyPr>
          <a:lstStyle/>
          <a:p>
            <a:pPr>
              <a:lnSpc>
                <a:spcPts val="3240"/>
              </a:lnSpc>
            </a:pPr>
            <a:r>
              <a:rPr lang="en-US" sz="2800" dirty="0">
                <a:solidFill>
                  <a:schemeClr val="bg1"/>
                </a:solidFill>
              </a:rPr>
              <a:t>Να κατανοήσουν την αξία και τον αντίκτυπο μιας αντικειμενικής εξωτερικής άποψης σε μια κρίση</a:t>
            </a:r>
          </a:p>
        </p:txBody>
      </p:sp>
      <p:graphicFrame>
        <p:nvGraphicFramePr>
          <p:cNvPr id="8" name="object 22">
            <a:extLst>
              <a:ext uri="{FF2B5EF4-FFF2-40B4-BE49-F238E27FC236}">
                <a16:creationId xmlns:a16="http://schemas.microsoft.com/office/drawing/2014/main" id="{C4F54718-0B00-2BDF-7E22-A8C609182361}"/>
              </a:ext>
            </a:extLst>
          </p:cNvPr>
          <p:cNvGraphicFramePr>
            <a:graphicFrameLocks noGrp="1"/>
          </p:cNvGraphicFramePr>
          <p:nvPr>
            <p:extLst>
              <p:ext uri="{D42A27DB-BD31-4B8C-83A1-F6EECF244321}">
                <p14:modId xmlns:p14="http://schemas.microsoft.com/office/powerpoint/2010/main" val="134572915"/>
              </p:ext>
            </p:extLst>
          </p:nvPr>
        </p:nvGraphicFramePr>
        <p:xfrm>
          <a:off x="315685" y="2451911"/>
          <a:ext cx="11560628" cy="4067931"/>
        </p:xfrm>
        <a:graphic>
          <a:graphicData uri="http://schemas.openxmlformats.org/drawingml/2006/table">
            <a:tbl>
              <a:tblPr firstRow="1" bandRow="1">
                <a:tableStyleId>{2D5ABB26-0587-4C30-8999-92F81FD0307C}</a:tableStyleId>
              </a:tblPr>
              <a:tblGrid>
                <a:gridCol w="4082377">
                  <a:extLst>
                    <a:ext uri="{9D8B030D-6E8A-4147-A177-3AD203B41FA5}">
                      <a16:colId xmlns:a16="http://schemas.microsoft.com/office/drawing/2014/main" val="20000"/>
                    </a:ext>
                  </a:extLst>
                </a:gridCol>
                <a:gridCol w="3024156">
                  <a:extLst>
                    <a:ext uri="{9D8B030D-6E8A-4147-A177-3AD203B41FA5}">
                      <a16:colId xmlns:a16="http://schemas.microsoft.com/office/drawing/2014/main" val="20001"/>
                    </a:ext>
                  </a:extLst>
                </a:gridCol>
                <a:gridCol w="4454095">
                  <a:extLst>
                    <a:ext uri="{9D8B030D-6E8A-4147-A177-3AD203B41FA5}">
                      <a16:colId xmlns:a16="http://schemas.microsoft.com/office/drawing/2014/main" val="20002"/>
                    </a:ext>
                  </a:extLst>
                </a:gridCol>
              </a:tblGrid>
              <a:tr h="379968">
                <a:tc>
                  <a:txBody>
                    <a:bodyPr/>
                    <a:lstStyle/>
                    <a:p>
                      <a:pPr marL="91440" algn="ctr">
                        <a:lnSpc>
                          <a:spcPct val="100000"/>
                        </a:lnSpc>
                        <a:spcBef>
                          <a:spcPts val="1145"/>
                        </a:spcBef>
                      </a:pPr>
                      <a:r>
                        <a:rPr lang="en-GB" sz="1800" b="1" dirty="0">
                          <a:solidFill>
                            <a:schemeClr val="bg1"/>
                          </a:solidFill>
                          <a:latin typeface="+mn-lt"/>
                          <a:cs typeface="Arial"/>
                        </a:rPr>
                        <a:t>ΕΞΩΤΕΡΙΚΟΊ ΠΑΡΆΓΟΝΤΕΣ</a:t>
                      </a:r>
                      <a:endParaRPr lang="en-GB" sz="1800" dirty="0">
                        <a:solidFill>
                          <a:schemeClr val="bg1"/>
                        </a:solidFill>
                        <a:latin typeface="+mn-lt"/>
                        <a:cs typeface="Arial"/>
                      </a:endParaRPr>
                    </a:p>
                  </a:txBody>
                  <a:tcPr marL="0" marR="0" marT="145415"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tc>
                  <a:txBody>
                    <a:bodyPr/>
                    <a:lstStyle/>
                    <a:p>
                      <a:pPr marL="146050" algn="ctr">
                        <a:lnSpc>
                          <a:spcPct val="100000"/>
                        </a:lnSpc>
                        <a:spcBef>
                          <a:spcPts val="840"/>
                        </a:spcBef>
                      </a:pPr>
                      <a:r>
                        <a:rPr lang="en-GB" sz="1800" b="1" spc="-10" dirty="0">
                          <a:solidFill>
                            <a:schemeClr val="bg1"/>
                          </a:solidFill>
                          <a:latin typeface="+mn-lt"/>
                          <a:cs typeface="Arial" panose="020B0604020202020204" pitchFamily="34" charset="0"/>
                        </a:rPr>
                        <a:t>ΠΕΡΙΛΗΨΕΙΣ</a:t>
                      </a:r>
                      <a:endParaRPr lang="en-GB" sz="1800" dirty="0">
                        <a:solidFill>
                          <a:schemeClr val="bg1"/>
                        </a:solidFill>
                        <a:latin typeface="+mn-lt"/>
                        <a:cs typeface="Arial" panose="020B0604020202020204" pitchFamily="34" charset="0"/>
                      </a:endParaRPr>
                    </a:p>
                  </a:txBody>
                  <a:tcPr marL="0" marR="0" marT="106680"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tc>
                  <a:txBody>
                    <a:bodyPr/>
                    <a:lstStyle/>
                    <a:p>
                      <a:pPr marL="106680" algn="ctr">
                        <a:lnSpc>
                          <a:spcPct val="100000"/>
                        </a:lnSpc>
                        <a:spcBef>
                          <a:spcPts val="1155"/>
                        </a:spcBef>
                      </a:pPr>
                      <a:r>
                        <a:rPr lang="en-GB" sz="1800" b="1" spc="-5" dirty="0">
                          <a:solidFill>
                            <a:schemeClr val="bg1"/>
                          </a:solidFill>
                          <a:latin typeface="+mn-lt"/>
                          <a:cs typeface="Arial"/>
                        </a:rPr>
                        <a:t>ΕΣΩΤΕΡΙΚΟΊ ΠΑΡΆΓΟΝΤΕΣ</a:t>
                      </a:r>
                      <a:endParaRPr lang="en-GB" sz="1800" dirty="0">
                        <a:solidFill>
                          <a:schemeClr val="bg1"/>
                        </a:solidFill>
                        <a:latin typeface="+mn-lt"/>
                        <a:cs typeface="Arial"/>
                      </a:endParaRPr>
                    </a:p>
                  </a:txBody>
                  <a:tcPr marL="0" marR="0" marT="146685"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extLst>
                  <a:ext uri="{0D108BD9-81ED-4DB2-BD59-A6C34878D82A}">
                    <a16:rowId xmlns:a16="http://schemas.microsoft.com/office/drawing/2014/main" val="10000"/>
                  </a:ext>
                </a:extLst>
              </a:tr>
              <a:tr h="342499">
                <a:tc>
                  <a:txBody>
                    <a:bodyPr/>
                    <a:lstStyle/>
                    <a:p>
                      <a:pPr marL="91440" marR="480695" algn="ctr">
                        <a:lnSpc>
                          <a:spcPct val="100000"/>
                        </a:lnSpc>
                        <a:spcBef>
                          <a:spcPts val="414"/>
                        </a:spcBef>
                      </a:pPr>
                      <a:r>
                        <a:rPr lang="en-GB" sz="1800" dirty="0">
                          <a:solidFill>
                            <a:srgbClr val="595959"/>
                          </a:solidFill>
                          <a:latin typeface="+mn-lt"/>
                          <a:cs typeface="Arial"/>
                        </a:rPr>
                        <a:t>Συρρικνούμενες/κορεσμένες αγορές</a:t>
                      </a:r>
                    </a:p>
                  </a:txBody>
                  <a:tcPr marL="0" marR="0" marT="5270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rowSpan="8">
                  <a:txBody>
                    <a:bodyPr/>
                    <a:lstStyle/>
                    <a:p>
                      <a:pPr algn="ctr">
                        <a:lnSpc>
                          <a:spcPct val="100000"/>
                        </a:lnSpc>
                      </a:pPr>
                      <a:endParaRPr lang="en-GB" sz="1800" baseline="2314" dirty="0">
                        <a:solidFill>
                          <a:srgbClr val="595959"/>
                        </a:solidFill>
                        <a:latin typeface="+mn-lt"/>
                        <a:cs typeface="Arial"/>
                      </a:endParaRPr>
                    </a:p>
                  </a:txBody>
                  <a:tcPr marL="0" marR="0" marT="0" marB="0">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noFill/>
                  </a:tcPr>
                </a:tc>
                <a:tc>
                  <a:txBody>
                    <a:bodyPr/>
                    <a:lstStyle/>
                    <a:p>
                      <a:pPr marL="106680" algn="ctr">
                        <a:lnSpc>
                          <a:spcPct val="100000"/>
                        </a:lnSpc>
                        <a:spcBef>
                          <a:spcPts val="835"/>
                        </a:spcBef>
                      </a:pPr>
                      <a:r>
                        <a:rPr lang="en-GB" sz="1800" spc="-5" dirty="0">
                          <a:solidFill>
                            <a:srgbClr val="595959"/>
                          </a:solidFill>
                          <a:latin typeface="+mn-lt"/>
                          <a:cs typeface="Arial"/>
                        </a:rPr>
                        <a:t>Ελλείμματα στρατηγικής</a:t>
                      </a:r>
                      <a:endParaRPr lang="en-GB" sz="1800" dirty="0">
                        <a:solidFill>
                          <a:srgbClr val="595959"/>
                        </a:solidFill>
                        <a:latin typeface="+mn-lt"/>
                        <a:cs typeface="Arial"/>
                      </a:endParaRPr>
                    </a:p>
                  </a:txBody>
                  <a:tcPr marL="0" marR="0" marT="10604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1294">
                <a:tc>
                  <a:txBody>
                    <a:bodyPr/>
                    <a:lstStyle/>
                    <a:p>
                      <a:pPr algn="ctr"/>
                      <a:r>
                        <a:rPr lang="en-GB" sz="1800" dirty="0">
                          <a:solidFill>
                            <a:srgbClr val="595959"/>
                          </a:solidFill>
                          <a:latin typeface="+mn-lt"/>
                          <a:cs typeface="Arial"/>
                        </a:rPr>
                        <a:t>  Ψηφιοποίηση</a:t>
                      </a:r>
                      <a:endParaRPr lang="en-GB" sz="1800" dirty="0">
                        <a:solidFill>
                          <a:srgbClr val="595959"/>
                        </a:solidFill>
                        <a:latin typeface="+mn-lt"/>
                      </a:endParaRPr>
                    </a:p>
                  </a:txBody>
                  <a:tcPr marL="0" marR="0" marT="11303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5875" marR="678815" indent="0" algn="ctr">
                        <a:lnSpc>
                          <a:spcPct val="100000"/>
                        </a:lnSpc>
                        <a:spcBef>
                          <a:spcPts val="320"/>
                        </a:spcBef>
                        <a:tabLst/>
                      </a:pPr>
                      <a:r>
                        <a:rPr lang="en-GB" sz="1800" dirty="0">
                          <a:solidFill>
                            <a:srgbClr val="595959"/>
                          </a:solidFill>
                          <a:latin typeface="+mn-lt"/>
                          <a:cs typeface="Arial"/>
                        </a:rPr>
                        <a:t>Ξεπερασμένη τεχνολογία/προϊόντα</a:t>
                      </a:r>
                    </a:p>
                  </a:txBody>
                  <a:tcPr marL="0" marR="0" marT="4064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0796">
                <a:tc>
                  <a:txBody>
                    <a:bodyPr/>
                    <a:lstStyle/>
                    <a:p>
                      <a:pPr algn="ctr">
                        <a:lnSpc>
                          <a:spcPct val="100000"/>
                        </a:lnSpc>
                        <a:spcBef>
                          <a:spcPts val="55"/>
                        </a:spcBef>
                      </a:pPr>
                      <a:r>
                        <a:rPr lang="en-GB" sz="1800" dirty="0">
                          <a:solidFill>
                            <a:srgbClr val="595959"/>
                          </a:solidFill>
                          <a:latin typeface="+mn-lt"/>
                          <a:cs typeface="Arial"/>
                        </a:rPr>
                        <a:t>  Αλλαγές στους κανονισμούς</a:t>
                      </a:r>
                    </a:p>
                  </a:txBody>
                  <a:tcPr marL="0" marR="0" marT="698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994"/>
                        </a:spcBef>
                      </a:pPr>
                      <a:r>
                        <a:rPr lang="en-GB" sz="1800" dirty="0">
                          <a:solidFill>
                            <a:srgbClr val="595959"/>
                          </a:solidFill>
                          <a:latin typeface="+mn-lt"/>
                          <a:cs typeface="Arial"/>
                        </a:rPr>
                        <a:t>Έλλειψη λειτουργικής αποτελεσματικότητας</a:t>
                      </a:r>
                    </a:p>
                  </a:txBody>
                  <a:tcPr marL="0" marR="0" marT="12636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97564">
                <a:tc>
                  <a:txBody>
                    <a:bodyPr/>
                    <a:lstStyle/>
                    <a:p>
                      <a:pPr algn="ctr"/>
                      <a:r>
                        <a:rPr lang="en-GB" sz="1800" dirty="0">
                          <a:solidFill>
                            <a:srgbClr val="595959"/>
                          </a:solidFill>
                          <a:latin typeface="+mn-lt"/>
                          <a:cs typeface="Arial"/>
                        </a:rPr>
                        <a:t>  Τεχνολογικά άλματα</a:t>
                      </a:r>
                      <a:endParaRPr lang="en-GB" sz="1800" dirty="0">
                        <a:solidFill>
                          <a:srgbClr val="595959"/>
                        </a:solidFill>
                        <a:latin typeface="+mn-lt"/>
                      </a:endParaRPr>
                    </a:p>
                  </a:txBody>
                  <a:tcPr marL="0" marR="0" marT="11366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marR="103505" algn="ctr">
                        <a:lnSpc>
                          <a:spcPct val="100000"/>
                        </a:lnSpc>
                        <a:spcBef>
                          <a:spcPts val="1160"/>
                        </a:spcBef>
                      </a:pPr>
                      <a:r>
                        <a:rPr lang="en-GB" sz="1800" dirty="0">
                          <a:solidFill>
                            <a:srgbClr val="595959"/>
                          </a:solidFill>
                          <a:latin typeface="+mn-lt"/>
                          <a:cs typeface="Arial"/>
                        </a:rPr>
                        <a:t>Ανεπαρκής διαχείριση. / ποιότητα ηγεσίας</a:t>
                      </a:r>
                    </a:p>
                  </a:txBody>
                  <a:tcPr marL="0" marR="0" marT="14732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21749">
                <a:tc>
                  <a:txBody>
                    <a:bodyPr/>
                    <a:lstStyle/>
                    <a:p>
                      <a:pPr algn="ctr"/>
                      <a:r>
                        <a:rPr lang="en-GB" sz="1800" dirty="0">
                          <a:solidFill>
                            <a:srgbClr val="595959"/>
                          </a:solidFill>
                          <a:latin typeface="+mn-lt"/>
                          <a:cs typeface="Arial"/>
                        </a:rPr>
                        <a:t>  Παγκοσμιοποίηση</a:t>
                      </a:r>
                      <a:endParaRPr lang="en-GB" sz="1800" dirty="0">
                        <a:solidFill>
                          <a:srgbClr val="595959"/>
                        </a:solidFill>
                        <a:latin typeface="+mn-lt"/>
                      </a:endParaRPr>
                    </a:p>
                  </a:txBody>
                  <a:tcPr marL="0" marR="0" marT="11366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marR="829310" algn="ctr">
                        <a:lnSpc>
                          <a:spcPct val="100000"/>
                        </a:lnSpc>
                        <a:spcBef>
                          <a:spcPts val="325"/>
                        </a:spcBef>
                      </a:pPr>
                      <a:r>
                        <a:rPr lang="en-GB" sz="1800" spc="-5" dirty="0">
                          <a:solidFill>
                            <a:srgbClr val="595959"/>
                          </a:solidFill>
                          <a:latin typeface="+mn-lt"/>
                          <a:cs typeface="Arial"/>
                        </a:rPr>
                        <a:t>Ανισόρροπη δομή χρηματοδότησης</a:t>
                      </a:r>
                    </a:p>
                  </a:txBody>
                  <a:tcPr marL="0" marR="0" marT="412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2245">
                <a:tc>
                  <a:txBody>
                    <a:bodyPr/>
                    <a:lstStyle/>
                    <a:p>
                      <a:pPr algn="ctr"/>
                      <a:r>
                        <a:rPr lang="en-GB" sz="1800" dirty="0">
                          <a:solidFill>
                            <a:srgbClr val="595959"/>
                          </a:solidFill>
                          <a:latin typeface="+mn-lt"/>
                          <a:cs typeface="Arial"/>
                        </a:rPr>
                        <a:t>  Νέα προϊόντα / νέοι ανταγωνιστές</a:t>
                      </a:r>
                      <a:endParaRPr lang="en-GB" sz="1800" dirty="0">
                        <a:solidFill>
                          <a:srgbClr val="595959"/>
                        </a:solidFill>
                        <a:latin typeface="+mn-lt"/>
                      </a:endParaRPr>
                    </a:p>
                  </a:txBody>
                  <a:tcPr marL="0" marR="0" marT="16129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825"/>
                        </a:spcBef>
                      </a:pPr>
                      <a:r>
                        <a:rPr lang="en-GB" sz="1800" dirty="0">
                          <a:solidFill>
                            <a:srgbClr val="595959"/>
                          </a:solidFill>
                          <a:latin typeface="+mn-lt"/>
                          <a:cs typeface="Arial"/>
                        </a:rPr>
                        <a:t>Υπερτιμημένες εξαγορές</a:t>
                      </a:r>
                    </a:p>
                  </a:txBody>
                  <a:tcPr marL="0" marR="0" marT="1047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2816">
                <a:tc>
                  <a:txBody>
                    <a:bodyPr/>
                    <a:lstStyle/>
                    <a:p>
                      <a:pPr algn="ctr"/>
                      <a:r>
                        <a:rPr lang="en-GB" sz="1800" dirty="0">
                          <a:solidFill>
                            <a:srgbClr val="595959"/>
                          </a:solidFill>
                          <a:latin typeface="+mn-lt"/>
                          <a:cs typeface="Arial"/>
                        </a:rPr>
                        <a:t>  Τιμές πρώτων υλών / συναλλαγματικές ισοτιμίες</a:t>
                      </a:r>
                      <a:endParaRPr lang="en-GB" sz="1800" dirty="0">
                        <a:solidFill>
                          <a:srgbClr val="595959"/>
                        </a:solidFill>
                        <a:latin typeface="+mn-lt"/>
                      </a:endParaRPr>
                    </a:p>
                  </a:txBody>
                  <a:tcPr marL="0" marR="0" marT="16192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1165"/>
                        </a:spcBef>
                      </a:pPr>
                      <a:r>
                        <a:rPr lang="en-GB" sz="1800" spc="-5" dirty="0">
                          <a:solidFill>
                            <a:srgbClr val="595959"/>
                          </a:solidFill>
                          <a:latin typeface="+mn-lt"/>
                          <a:cs typeface="Arial"/>
                        </a:rPr>
                        <a:t>Ανεπαρκής έλεγχος</a:t>
                      </a:r>
                    </a:p>
                  </a:txBody>
                  <a:tcPr marL="0" marR="0" marT="14795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341356">
                <a:tc>
                  <a:txBody>
                    <a:bodyPr/>
                    <a:lstStyle/>
                    <a:p>
                      <a:pPr algn="ctr"/>
                      <a:r>
                        <a:rPr lang="en-GB" sz="1800" dirty="0">
                          <a:solidFill>
                            <a:srgbClr val="595959"/>
                          </a:solidFill>
                          <a:latin typeface="+mn-lt"/>
                          <a:cs typeface="Arial"/>
                        </a:rPr>
                        <a:t>  Αφερεγγυότητα πελατών/προμηθευτών</a:t>
                      </a:r>
                      <a:endParaRPr lang="en-GB" sz="1800" dirty="0">
                        <a:solidFill>
                          <a:srgbClr val="595959"/>
                        </a:solidFill>
                        <a:latin typeface="+mn-lt"/>
                      </a:endParaRPr>
                    </a:p>
                  </a:txBody>
                  <a:tcPr marL="0" marR="0" marT="6985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825"/>
                        </a:spcBef>
                      </a:pPr>
                      <a:r>
                        <a:rPr lang="en-GB" sz="1800" spc="-5" dirty="0">
                          <a:solidFill>
                            <a:srgbClr val="595959"/>
                          </a:solidFill>
                          <a:latin typeface="+mn-lt"/>
                          <a:cs typeface="Arial"/>
                        </a:rPr>
                        <a:t>Οργανωτικές ελλείψεις</a:t>
                      </a:r>
                    </a:p>
                  </a:txBody>
                  <a:tcPr marL="0" marR="0" marT="1047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bl>
          </a:graphicData>
        </a:graphic>
      </p:graphicFrame>
      <p:sp>
        <p:nvSpPr>
          <p:cNvPr id="15" name="Textfeld 2">
            <a:extLst>
              <a:ext uri="{FF2B5EF4-FFF2-40B4-BE49-F238E27FC236}">
                <a16:creationId xmlns:a16="http://schemas.microsoft.com/office/drawing/2014/main" id="{254B833A-9E25-1197-4DA7-146025442994}"/>
              </a:ext>
            </a:extLst>
          </p:cNvPr>
          <p:cNvSpPr txBox="1"/>
          <p:nvPr/>
        </p:nvSpPr>
        <p:spPr>
          <a:xfrm rot="20469085">
            <a:off x="4811726" y="4646855"/>
            <a:ext cx="210192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16924"/>
                </a:solidFill>
                <a:effectLst/>
                <a:uLnTx/>
                <a:uFillTx/>
                <a:latin typeface="Calibri" panose="020F0502020204030204"/>
                <a:ea typeface="+mn-ea"/>
                <a:cs typeface="+mn-cs"/>
              </a:rPr>
              <a:t>Αντίληψη των συμβούλων</a:t>
            </a:r>
          </a:p>
        </p:txBody>
      </p:sp>
      <p:sp>
        <p:nvSpPr>
          <p:cNvPr id="16" name="Textfeld 11">
            <a:extLst>
              <a:ext uri="{FF2B5EF4-FFF2-40B4-BE49-F238E27FC236}">
                <a16:creationId xmlns:a16="http://schemas.microsoft.com/office/drawing/2014/main" id="{CDAE1CEF-33A0-B10C-8774-06ADC9A127F8}"/>
              </a:ext>
            </a:extLst>
          </p:cNvPr>
          <p:cNvSpPr txBox="1"/>
          <p:nvPr/>
        </p:nvSpPr>
        <p:spPr>
          <a:xfrm rot="1159998">
            <a:off x="4779137" y="3190129"/>
            <a:ext cx="251229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16924"/>
                </a:solidFill>
                <a:effectLst/>
                <a:uLnTx/>
                <a:uFillTx/>
                <a:latin typeface="Calibri" panose="020F0502020204030204"/>
                <a:ea typeface="+mn-ea"/>
                <a:cs typeface="+mn-cs"/>
              </a:rPr>
              <a:t>Αντίληψη της διοίκησης</a:t>
            </a:r>
          </a:p>
        </p:txBody>
      </p:sp>
      <p:grpSp>
        <p:nvGrpSpPr>
          <p:cNvPr id="17" name="Group 16">
            <a:extLst>
              <a:ext uri="{FF2B5EF4-FFF2-40B4-BE49-F238E27FC236}">
                <a16:creationId xmlns:a16="http://schemas.microsoft.com/office/drawing/2014/main" id="{D9E8AD8D-894B-93A3-B0E7-B7392260710F}"/>
              </a:ext>
            </a:extLst>
          </p:cNvPr>
          <p:cNvGrpSpPr/>
          <p:nvPr/>
        </p:nvGrpSpPr>
        <p:grpSpPr>
          <a:xfrm>
            <a:off x="4711806" y="4591785"/>
            <a:ext cx="2311077" cy="1552199"/>
            <a:chOff x="-2684985" y="4847393"/>
            <a:chExt cx="2311077" cy="1552199"/>
          </a:xfrm>
        </p:grpSpPr>
        <p:sp>
          <p:nvSpPr>
            <p:cNvPr id="18" name="Gleichschenkliges Dreieck 1">
              <a:extLst>
                <a:ext uri="{FF2B5EF4-FFF2-40B4-BE49-F238E27FC236}">
                  <a16:creationId xmlns:a16="http://schemas.microsoft.com/office/drawing/2014/main" id="{A1266FCB-8F94-1F03-365C-327B43CD8AF7}"/>
                </a:ext>
              </a:extLst>
            </p:cNvPr>
            <p:cNvSpPr/>
            <p:nvPr/>
          </p:nvSpPr>
          <p:spPr>
            <a:xfrm rot="16200000">
              <a:off x="-2317543" y="4479951"/>
              <a:ext cx="1552199" cy="2287084"/>
            </a:xfrm>
            <a:prstGeom prst="triangl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feld 9">
              <a:extLst>
                <a:ext uri="{FF2B5EF4-FFF2-40B4-BE49-F238E27FC236}">
                  <a16:creationId xmlns:a16="http://schemas.microsoft.com/office/drawing/2014/main" id="{5CB0ED21-1D7C-A554-BF80-BB2C9A4B90F9}"/>
                </a:ext>
              </a:extLst>
            </p:cNvPr>
            <p:cNvSpPr txBox="1"/>
            <p:nvPr/>
          </p:nvSpPr>
          <p:spPr>
            <a:xfrm>
              <a:off x="-1183745" y="5614947"/>
              <a:ext cx="809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panose="020F0502020204030204"/>
                  <a:ea typeface="+mn-ea"/>
                  <a:cs typeface="+mn-cs"/>
                </a:rPr>
                <a:t>ΕΣΩΤΕΡΙΚΟ</a:t>
              </a:r>
            </a:p>
          </p:txBody>
        </p:sp>
        <p:sp>
          <p:nvSpPr>
            <p:cNvPr id="20" name="Textfeld 9">
              <a:extLst>
                <a:ext uri="{FF2B5EF4-FFF2-40B4-BE49-F238E27FC236}">
                  <a16:creationId xmlns:a16="http://schemas.microsoft.com/office/drawing/2014/main" id="{085EFF05-3AAE-7A2A-48B4-47F07B15DCCD}"/>
                </a:ext>
              </a:extLst>
            </p:cNvPr>
            <p:cNvSpPr txBox="1"/>
            <p:nvPr/>
          </p:nvSpPr>
          <p:spPr>
            <a:xfrm>
              <a:off x="-1118542" y="5299343"/>
              <a:ext cx="71526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90%</a:t>
              </a:r>
            </a:p>
          </p:txBody>
        </p:sp>
        <p:sp>
          <p:nvSpPr>
            <p:cNvPr id="21" name="Textfeld 9">
              <a:extLst>
                <a:ext uri="{FF2B5EF4-FFF2-40B4-BE49-F238E27FC236}">
                  <a16:creationId xmlns:a16="http://schemas.microsoft.com/office/drawing/2014/main" id="{F9860DD1-33A1-D2A7-9F7D-E136F81E8BBE}"/>
                </a:ext>
              </a:extLst>
            </p:cNvPr>
            <p:cNvSpPr txBox="1"/>
            <p:nvPr/>
          </p:nvSpPr>
          <p:spPr>
            <a:xfrm>
              <a:off x="-2050225" y="5614947"/>
              <a:ext cx="82747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Calibri" panose="020F0502020204030204"/>
                </a:rPr>
                <a:t>ΕΞΩΤΕΡΙΚΟ</a:t>
              </a:r>
            </a:p>
          </p:txBody>
        </p:sp>
        <p:sp>
          <p:nvSpPr>
            <p:cNvPr id="22" name="Textfeld 9">
              <a:extLst>
                <a:ext uri="{FF2B5EF4-FFF2-40B4-BE49-F238E27FC236}">
                  <a16:creationId xmlns:a16="http://schemas.microsoft.com/office/drawing/2014/main" id="{632C2541-1B01-42AE-D802-9F91DE03EB68}"/>
                </a:ext>
              </a:extLst>
            </p:cNvPr>
            <p:cNvSpPr txBox="1"/>
            <p:nvPr/>
          </p:nvSpPr>
          <p:spPr>
            <a:xfrm>
              <a:off x="-2002114" y="5299343"/>
              <a:ext cx="720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10%</a:t>
              </a:r>
            </a:p>
          </p:txBody>
        </p:sp>
      </p:grpSp>
      <p:grpSp>
        <p:nvGrpSpPr>
          <p:cNvPr id="23" name="Group 22">
            <a:extLst>
              <a:ext uri="{FF2B5EF4-FFF2-40B4-BE49-F238E27FC236}">
                <a16:creationId xmlns:a16="http://schemas.microsoft.com/office/drawing/2014/main" id="{1EC733AA-BA67-0BF9-78EC-96DF65B55FE4}"/>
              </a:ext>
            </a:extLst>
          </p:cNvPr>
          <p:cNvGrpSpPr/>
          <p:nvPr/>
        </p:nvGrpSpPr>
        <p:grpSpPr>
          <a:xfrm>
            <a:off x="4811727" y="3107759"/>
            <a:ext cx="2287085" cy="1552199"/>
            <a:chOff x="-2050225" y="4821740"/>
            <a:chExt cx="2287085" cy="1552199"/>
          </a:xfrm>
        </p:grpSpPr>
        <p:sp>
          <p:nvSpPr>
            <p:cNvPr id="24" name="Gleichschenkliges Dreieck 1">
              <a:extLst>
                <a:ext uri="{FF2B5EF4-FFF2-40B4-BE49-F238E27FC236}">
                  <a16:creationId xmlns:a16="http://schemas.microsoft.com/office/drawing/2014/main" id="{ED8CF7FF-0A3C-E618-312D-8F94F2F1B62A}"/>
                </a:ext>
              </a:extLst>
            </p:cNvPr>
            <p:cNvSpPr/>
            <p:nvPr/>
          </p:nvSpPr>
          <p:spPr>
            <a:xfrm rot="5400000" flipH="1">
              <a:off x="-1682782" y="4454298"/>
              <a:ext cx="1552199" cy="2287084"/>
            </a:xfrm>
            <a:prstGeom prst="triangl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Textfeld 9">
              <a:extLst>
                <a:ext uri="{FF2B5EF4-FFF2-40B4-BE49-F238E27FC236}">
                  <a16:creationId xmlns:a16="http://schemas.microsoft.com/office/drawing/2014/main" id="{E3CFA779-90C6-9951-F780-6A0DF7F63185}"/>
                </a:ext>
              </a:extLst>
            </p:cNvPr>
            <p:cNvSpPr txBox="1"/>
            <p:nvPr/>
          </p:nvSpPr>
          <p:spPr>
            <a:xfrm>
              <a:off x="-1183745" y="5614947"/>
              <a:ext cx="809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panose="020F0502020204030204"/>
                  <a:ea typeface="+mn-ea"/>
                  <a:cs typeface="+mn-cs"/>
                </a:rPr>
                <a:t>ΕΣΩΤΕΡΙΚΟ</a:t>
              </a:r>
            </a:p>
          </p:txBody>
        </p:sp>
        <p:sp>
          <p:nvSpPr>
            <p:cNvPr id="26" name="Textfeld 9">
              <a:extLst>
                <a:ext uri="{FF2B5EF4-FFF2-40B4-BE49-F238E27FC236}">
                  <a16:creationId xmlns:a16="http://schemas.microsoft.com/office/drawing/2014/main" id="{CA28D81F-E138-3828-43BD-54D6849878B4}"/>
                </a:ext>
              </a:extLst>
            </p:cNvPr>
            <p:cNvSpPr txBox="1"/>
            <p:nvPr/>
          </p:nvSpPr>
          <p:spPr>
            <a:xfrm>
              <a:off x="-1118542" y="5299343"/>
              <a:ext cx="720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10%</a:t>
              </a:r>
            </a:p>
          </p:txBody>
        </p:sp>
        <p:sp>
          <p:nvSpPr>
            <p:cNvPr id="27" name="Textfeld 9">
              <a:extLst>
                <a:ext uri="{FF2B5EF4-FFF2-40B4-BE49-F238E27FC236}">
                  <a16:creationId xmlns:a16="http://schemas.microsoft.com/office/drawing/2014/main" id="{689E75F6-2082-D009-5C00-7215263273D3}"/>
                </a:ext>
              </a:extLst>
            </p:cNvPr>
            <p:cNvSpPr txBox="1"/>
            <p:nvPr/>
          </p:nvSpPr>
          <p:spPr>
            <a:xfrm>
              <a:off x="-2050225" y="5614947"/>
              <a:ext cx="82747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Calibri" panose="020F0502020204030204"/>
                </a:rPr>
                <a:t>ΕΞΩΤΕΡΙΚΟ</a:t>
              </a:r>
            </a:p>
          </p:txBody>
        </p:sp>
        <p:sp>
          <p:nvSpPr>
            <p:cNvPr id="28" name="Textfeld 9">
              <a:extLst>
                <a:ext uri="{FF2B5EF4-FFF2-40B4-BE49-F238E27FC236}">
                  <a16:creationId xmlns:a16="http://schemas.microsoft.com/office/drawing/2014/main" id="{7450F520-2296-26AD-1CBE-A35ABDCE66CA}"/>
                </a:ext>
              </a:extLst>
            </p:cNvPr>
            <p:cNvSpPr txBox="1"/>
            <p:nvPr/>
          </p:nvSpPr>
          <p:spPr>
            <a:xfrm>
              <a:off x="-2002114" y="5299343"/>
              <a:ext cx="720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90%</a:t>
              </a:r>
            </a:p>
          </p:txBody>
        </p:sp>
      </p:grpSp>
    </p:spTree>
    <p:extLst>
      <p:ext uri="{BB962C8B-B14F-4D97-AF65-F5344CB8AC3E}">
        <p14:creationId xmlns:p14="http://schemas.microsoft.com/office/powerpoint/2010/main" val="8530910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877067-4DF6-CAD3-9D51-E733FD7068E0}"/>
              </a:ext>
            </a:extLst>
          </p:cNvPr>
          <p:cNvSpPr/>
          <p:nvPr/>
        </p:nvSpPr>
        <p:spPr>
          <a:xfrm>
            <a:off x="1" y="0"/>
            <a:ext cx="501491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E0A991C1-66CD-9C4A-907D-EF168A14CA90}"/>
              </a:ext>
            </a:extLst>
          </p:cNvPr>
          <p:cNvSpPr>
            <a:spLocks noGrp="1"/>
          </p:cNvSpPr>
          <p:nvPr>
            <p:ph type="body" sz="quarter" idx="16"/>
          </p:nvPr>
        </p:nvSpPr>
        <p:spPr>
          <a:xfrm>
            <a:off x="273886" y="361641"/>
            <a:ext cx="3894451" cy="3097006"/>
          </a:xfrm>
        </p:spPr>
        <p:txBody>
          <a:bodyPr>
            <a:normAutofit/>
          </a:bodyPr>
          <a:lstStyle/>
          <a:p>
            <a:pPr>
              <a:lnSpc>
                <a:spcPts val="3620"/>
              </a:lnSpc>
            </a:pPr>
            <a:r>
              <a:rPr lang="en-IE" dirty="0">
                <a:solidFill>
                  <a:srgbClr val="EDA13E"/>
                </a:solidFill>
              </a:rPr>
              <a:t>Τρία κοινά λάθη στο επίκεντρο</a:t>
            </a:r>
          </a:p>
        </p:txBody>
      </p:sp>
      <p:sp>
        <p:nvSpPr>
          <p:cNvPr id="6" name="Subtitle 2">
            <a:extLst>
              <a:ext uri="{FF2B5EF4-FFF2-40B4-BE49-F238E27FC236}">
                <a16:creationId xmlns:a16="http://schemas.microsoft.com/office/drawing/2014/main" id="{8A4CA383-4C97-AF9C-723E-AC0CB7603B14}"/>
              </a:ext>
            </a:extLst>
          </p:cNvPr>
          <p:cNvSpPr txBox="1">
            <a:spLocks/>
          </p:cNvSpPr>
          <p:nvPr/>
        </p:nvSpPr>
        <p:spPr>
          <a:xfrm>
            <a:off x="256806" y="1398870"/>
            <a:ext cx="3998078" cy="544281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sz="2000" dirty="0">
                <a:solidFill>
                  <a:schemeClr val="bg1"/>
                </a:solidFill>
                <a:latin typeface="+mn-lt"/>
                <a:ea typeface="Open Sans Light" panose="020B0306030504020204" pitchFamily="34" charset="0"/>
                <a:cs typeface="Open Sans Light" panose="020B0306030504020204" pitchFamily="34" charset="0"/>
              </a:rPr>
              <a:t>Κατά την αντιμετώπιση της χρηματοδότησης κατά τη διάρκεια μιας κρίσης, οι επιχειρήσεις συχνά κάνουν σοβαρά λάθη.  Ένα σημαντικό λάθος είναι να επενδύει κανείς τα ιδιωτικά του περιουσιακά στοιχεία πολύ νωρίς και πολύ εκτεταμένα στην επιχείρηση. Ακόμη και αν η πρόθεση των ιδιοκτητών πίσω από αυτό είναι αξιέπαινη, συχνά οδηγεί σε ανεπανόρθωτη ζημία.  Επομένως, είναι σημαντικό να καταρτιστεί πρώτα ένα ολοκληρωμένο σχέδιο αναδιάρθρωσης και </a:t>
            </a:r>
            <a:r>
              <a:rPr lang="en-GB" sz="2000" b="1" u="sng" dirty="0">
                <a:solidFill>
                  <a:schemeClr val="bg1"/>
                </a:solidFill>
                <a:latin typeface="+mn-lt"/>
                <a:ea typeface="Open Sans Light" panose="020B0306030504020204" pitchFamily="34" charset="0"/>
                <a:cs typeface="Open Sans Light" panose="020B0306030504020204" pitchFamily="34" charset="0"/>
              </a:rPr>
              <a:t>στη συνέχεια </a:t>
            </a:r>
            <a:r>
              <a:rPr lang="en-GB" sz="2000" dirty="0">
                <a:solidFill>
                  <a:schemeClr val="bg1"/>
                </a:solidFill>
                <a:latin typeface="+mn-lt"/>
                <a:ea typeface="Open Sans Light" panose="020B0306030504020204" pitchFamily="34" charset="0"/>
                <a:cs typeface="Open Sans Light" panose="020B0306030504020204" pitchFamily="34" charset="0"/>
              </a:rPr>
              <a:t>να χρηματοδοτηθεί και να υλοποιηθεί μαζί με έναν χρηματοοικονομικό εταίρο, π.χ. τράπεζες.</a:t>
            </a:r>
          </a:p>
        </p:txBody>
      </p:sp>
      <p:sp>
        <p:nvSpPr>
          <p:cNvPr id="17" name="TextBox 57">
            <a:extLst>
              <a:ext uri="{FF2B5EF4-FFF2-40B4-BE49-F238E27FC236}">
                <a16:creationId xmlns:a16="http://schemas.microsoft.com/office/drawing/2014/main" id="{124DCD05-6E90-5B25-21BC-81AA4F0B3BB9}"/>
              </a:ext>
            </a:extLst>
          </p:cNvPr>
          <p:cNvSpPr txBox="1"/>
          <p:nvPr/>
        </p:nvSpPr>
        <p:spPr>
          <a:xfrm>
            <a:off x="6096000" y="529773"/>
            <a:ext cx="5576888" cy="6825715"/>
          </a:xfrm>
          <a:prstGeom prst="rect">
            <a:avLst/>
          </a:prstGeom>
          <a:noFill/>
        </p:spPr>
        <p:txBody>
          <a:bodyPr wrap="square" rtlCol="0" anchor="t">
            <a:spAutoFit/>
          </a:bodyPr>
          <a:lstStyle/>
          <a:p>
            <a:pPr>
              <a:lnSpc>
                <a:spcPts val="2340"/>
              </a:lnSpc>
              <a:spcBef>
                <a:spcPts val="675"/>
              </a:spcBef>
            </a:pPr>
            <a:r>
              <a:rPr lang="en-US" sz="2000" dirty="0">
                <a:solidFill>
                  <a:srgbClr val="595959"/>
                </a:solidFill>
                <a:ea typeface="Lato Light" panose="020F0502020204030203" pitchFamily="34" charset="0"/>
                <a:cs typeface="Lato Light" panose="020F0502020204030203" pitchFamily="34" charset="0"/>
              </a:rPr>
              <a:t>Ο ιδιοκτήτης επενδύει ιδιωτικά χρήματα στην κρίση επειδή θέλει να σώσει την εταιρεία του. Ελπίζουν ότι η κατάσταση θα αλλάξει και πάλι με την επόμενη μεγάλη σύμβαση.</a:t>
            </a:r>
          </a:p>
          <a:p>
            <a:pPr>
              <a:lnSpc>
                <a:spcPts val="2340"/>
              </a:lnSpc>
              <a:spcBef>
                <a:spcPts val="675"/>
              </a:spcBef>
            </a:pPr>
            <a:endParaRPr lang="en-US" sz="2000" dirty="0">
              <a:solidFill>
                <a:srgbClr val="595959"/>
              </a:solidFill>
              <a:ea typeface="Lato Light" panose="020F0502020204030203" pitchFamily="34" charset="0"/>
              <a:cs typeface="Lato Light" panose="020F0502020204030203" pitchFamily="34" charset="0"/>
            </a:endParaRPr>
          </a:p>
          <a:p>
            <a:pPr>
              <a:lnSpc>
                <a:spcPts val="2340"/>
              </a:lnSpc>
              <a:spcBef>
                <a:spcPts val="675"/>
              </a:spcBef>
            </a:pPr>
            <a:r>
              <a:rPr lang="en-US" sz="2000" dirty="0">
                <a:solidFill>
                  <a:srgbClr val="595959"/>
                </a:solidFill>
                <a:ea typeface="Lato Light" panose="020F0502020204030203" pitchFamily="34" charset="0"/>
                <a:cs typeface="Lato Light" panose="020F0502020204030203" pitchFamily="34" charset="0"/>
              </a:rPr>
              <a:t>Η κατάσταση ρευστότητας στην εταιρεία είναι αρχικά και πάλι πιο χαλαρή. Κατά κανόνα, ωστόσο, δεν εφαρμόζονται μέτρα αναδιάρθρωσης μεγάλης εμβέλειας. Η αρχή της ελπίδας συνεχίζει να επικρατεί - το πρόβλημα απλώς αναβάλλεται. </a:t>
            </a:r>
          </a:p>
          <a:p>
            <a:pPr>
              <a:lnSpc>
                <a:spcPts val="2340"/>
              </a:lnSpc>
              <a:spcBef>
                <a:spcPts val="675"/>
              </a:spcBef>
            </a:pPr>
            <a:endParaRPr lang="en-US" sz="2000" dirty="0">
              <a:solidFill>
                <a:srgbClr val="595959"/>
              </a:solidFill>
              <a:ea typeface="Lato Light" panose="020F0502020204030203" pitchFamily="34" charset="0"/>
              <a:cs typeface="Lato Light" panose="020F0502020204030203" pitchFamily="34" charset="0"/>
            </a:endParaRPr>
          </a:p>
          <a:p>
            <a:pPr>
              <a:lnSpc>
                <a:spcPts val="2340"/>
              </a:lnSpc>
              <a:spcBef>
                <a:spcPts val="675"/>
              </a:spcBef>
            </a:pPr>
            <a:r>
              <a:rPr lang="en-US" sz="2000" dirty="0" err="1">
                <a:solidFill>
                  <a:srgbClr val="595959"/>
                </a:solidFill>
                <a:ea typeface="Lato Light" panose="020F0502020204030203" pitchFamily="34" charset="0"/>
                <a:cs typeface="Lato Light" panose="020F0502020204030203" pitchFamily="34" charset="0"/>
              </a:rPr>
              <a:t>Ότ</a:t>
            </a:r>
            <a:r>
              <a:rPr lang="en-US" sz="2000" dirty="0">
                <a:solidFill>
                  <a:srgbClr val="595959"/>
                </a:solidFill>
                <a:ea typeface="Lato Light" panose="020F0502020204030203" pitchFamily="34" charset="0"/>
                <a:cs typeface="Lato Light" panose="020F0502020204030203" pitchFamily="34" charset="0"/>
              </a:rPr>
              <a:t>αν εξαντληθούν και τα τελευταία δικά τους αποθέματα, ο επιχειρηματίας αναζητά κεφάλαια από τις τράπεζες. Οι τράπεζες συνήθως απαιτούν σημαντικές προσωπικές συνεισφορές από τον ιδιοκτήτη, εάν πρόκειται να παράσχουν στήριξη κατά τη διάρκεια της κρίσης. Ωστόσο, εάν η σκόνη έχει ήδη εξαντληθεί, η επιλογή αυτή απορρίπτεται - και η χρεοκοπία είναι συχνά η λογική συνέπεια.</a:t>
            </a:r>
          </a:p>
          <a:p>
            <a:pPr>
              <a:lnSpc>
                <a:spcPts val="2340"/>
              </a:lnSpc>
              <a:spcBef>
                <a:spcPts val="675"/>
              </a:spcBef>
            </a:pPr>
            <a:endParaRPr lang="en-US" sz="2200" dirty="0">
              <a:solidFill>
                <a:srgbClr val="595959"/>
              </a:solidFill>
              <a:ea typeface="Lato Light" panose="020F0502020204030203" pitchFamily="34" charset="0"/>
              <a:cs typeface="Lato Light" panose="020F0502020204030203" pitchFamily="34" charset="0"/>
            </a:endParaRPr>
          </a:p>
          <a:p>
            <a:pPr>
              <a:lnSpc>
                <a:spcPts val="2340"/>
              </a:lnSpc>
              <a:spcBef>
                <a:spcPts val="675"/>
              </a:spcBef>
            </a:pPr>
            <a:endParaRPr lang="en-US" sz="2200" dirty="0">
              <a:solidFill>
                <a:srgbClr val="595959"/>
              </a:solidFill>
              <a:ea typeface="Lato Light" panose="020F0502020204030203" pitchFamily="34" charset="0"/>
              <a:cs typeface="Lato Light" panose="020F0502020204030203" pitchFamily="34" charset="0"/>
            </a:endParaRPr>
          </a:p>
        </p:txBody>
      </p:sp>
      <p:cxnSp>
        <p:nvCxnSpPr>
          <p:cNvPr id="79" name="Straight Connector 78">
            <a:extLst>
              <a:ext uri="{FF2B5EF4-FFF2-40B4-BE49-F238E27FC236}">
                <a16:creationId xmlns:a16="http://schemas.microsoft.com/office/drawing/2014/main" id="{63CFBF68-2771-2571-D821-F2CCC76C215B}"/>
              </a:ext>
            </a:extLst>
          </p:cNvPr>
          <p:cNvCxnSpPr>
            <a:cxnSpLocks/>
          </p:cNvCxnSpPr>
          <p:nvPr/>
        </p:nvCxnSpPr>
        <p:spPr>
          <a:xfrm>
            <a:off x="5014913" y="4105455"/>
            <a:ext cx="7177087"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4898B6D4-BCE6-0B3F-E58C-B428D7928A56}"/>
              </a:ext>
            </a:extLst>
          </p:cNvPr>
          <p:cNvGrpSpPr/>
          <p:nvPr/>
        </p:nvGrpSpPr>
        <p:grpSpPr>
          <a:xfrm>
            <a:off x="4675222" y="529773"/>
            <a:ext cx="1205556" cy="1116749"/>
            <a:chOff x="3866507" y="700090"/>
            <a:chExt cx="1205556" cy="1116749"/>
          </a:xfrm>
        </p:grpSpPr>
        <p:sp>
          <p:nvSpPr>
            <p:cNvPr id="43" name="Rectangle 42">
              <a:extLst>
                <a:ext uri="{FF2B5EF4-FFF2-40B4-BE49-F238E27FC236}">
                  <a16:creationId xmlns:a16="http://schemas.microsoft.com/office/drawing/2014/main" id="{A88D5B21-63C2-28D4-29E2-E73F7FAE5EF4}"/>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84">
              <a:extLst>
                <a:ext uri="{FF2B5EF4-FFF2-40B4-BE49-F238E27FC236}">
                  <a16:creationId xmlns:a16="http://schemas.microsoft.com/office/drawing/2014/main" id="{B7FDD1B4-B783-A473-D9BE-FB757E1DFE11}"/>
                </a:ext>
              </a:extLst>
            </p:cNvPr>
            <p:cNvSpPr txBox="1"/>
            <p:nvPr/>
          </p:nvSpPr>
          <p:spPr>
            <a:xfrm>
              <a:off x="3956084" y="752336"/>
              <a:ext cx="996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Roboto" charset="0"/>
                  <a:cs typeface="Calibri" panose="020F0502020204030204" pitchFamily="34" charset="0"/>
                </a:rPr>
                <a:t>ΒΗΜΑ</a:t>
              </a:r>
            </a:p>
          </p:txBody>
        </p:sp>
        <p:sp>
          <p:nvSpPr>
            <p:cNvPr id="45" name="Rectangle 85">
              <a:extLst>
                <a:ext uri="{FF2B5EF4-FFF2-40B4-BE49-F238E27FC236}">
                  <a16:creationId xmlns:a16="http://schemas.microsoft.com/office/drawing/2014/main" id="{31F65602-2A35-6F95-A683-F18CC51A8DF3}"/>
                </a:ext>
              </a:extLst>
            </p:cNvPr>
            <p:cNvSpPr>
              <a:spLocks/>
            </p:cNvSpPr>
            <p:nvPr/>
          </p:nvSpPr>
          <p:spPr bwMode="auto">
            <a:xfrm>
              <a:off x="4035912" y="1021023"/>
              <a:ext cx="851315" cy="738664"/>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square" lIns="0" tIns="0" rIns="0" bIns="0" anchor="ctr">
              <a:spAutoFit/>
            </a:bodyPr>
            <a:lstStyle/>
            <a:p>
              <a:pPr algn="ctr"/>
              <a:r>
                <a:rPr lang="en-GB" sz="4800" b="1" spc="113" dirty="0">
                  <a:solidFill>
                    <a:schemeClr val="bg1"/>
                  </a:solidFill>
                  <a:latin typeface="Calibri" panose="020F0502020204030204" pitchFamily="34" charset="0"/>
                  <a:ea typeface="Roboto" charset="0"/>
                  <a:cs typeface="Calibri" panose="020F0502020204030204" pitchFamily="34" charset="0"/>
                  <a:sym typeface="Bebas Neue" charset="0"/>
                </a:rPr>
                <a:t>01</a:t>
              </a:r>
            </a:p>
          </p:txBody>
        </p:sp>
      </p:grpSp>
      <p:cxnSp>
        <p:nvCxnSpPr>
          <p:cNvPr id="48" name="Straight Connector 47">
            <a:extLst>
              <a:ext uri="{FF2B5EF4-FFF2-40B4-BE49-F238E27FC236}">
                <a16:creationId xmlns:a16="http://schemas.microsoft.com/office/drawing/2014/main" id="{5E3AF840-F9EF-E312-501A-4279E6BB0737}"/>
              </a:ext>
            </a:extLst>
          </p:cNvPr>
          <p:cNvCxnSpPr>
            <a:cxnSpLocks/>
          </p:cNvCxnSpPr>
          <p:nvPr/>
        </p:nvCxnSpPr>
        <p:spPr>
          <a:xfrm>
            <a:off x="5014912" y="1928661"/>
            <a:ext cx="7177087"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6D1041E8-827C-288C-E17A-7D8E237F41DD}"/>
              </a:ext>
            </a:extLst>
          </p:cNvPr>
          <p:cNvGrpSpPr/>
          <p:nvPr/>
        </p:nvGrpSpPr>
        <p:grpSpPr>
          <a:xfrm>
            <a:off x="4675222" y="2200458"/>
            <a:ext cx="1205556" cy="1116749"/>
            <a:chOff x="3866507" y="700090"/>
            <a:chExt cx="1205556" cy="1116749"/>
          </a:xfrm>
        </p:grpSpPr>
        <p:sp>
          <p:nvSpPr>
            <p:cNvPr id="50" name="Rectangle 49">
              <a:extLst>
                <a:ext uri="{FF2B5EF4-FFF2-40B4-BE49-F238E27FC236}">
                  <a16:creationId xmlns:a16="http://schemas.microsoft.com/office/drawing/2014/main" id="{8E82B385-8A2F-C647-1C52-AEFB8E550AF0}"/>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84">
              <a:extLst>
                <a:ext uri="{FF2B5EF4-FFF2-40B4-BE49-F238E27FC236}">
                  <a16:creationId xmlns:a16="http://schemas.microsoft.com/office/drawing/2014/main" id="{6AFCE095-3444-5229-38D1-E5280FA60A8C}"/>
                </a:ext>
              </a:extLst>
            </p:cNvPr>
            <p:cNvSpPr txBox="1"/>
            <p:nvPr/>
          </p:nvSpPr>
          <p:spPr>
            <a:xfrm>
              <a:off x="3956084" y="752336"/>
              <a:ext cx="996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Roboto" charset="0"/>
                  <a:cs typeface="Calibri" panose="020F0502020204030204" pitchFamily="34" charset="0"/>
                </a:rPr>
                <a:t>ΒΗΜΑ</a:t>
              </a:r>
            </a:p>
          </p:txBody>
        </p:sp>
        <p:sp>
          <p:nvSpPr>
            <p:cNvPr id="52" name="Rectangle 85">
              <a:extLst>
                <a:ext uri="{FF2B5EF4-FFF2-40B4-BE49-F238E27FC236}">
                  <a16:creationId xmlns:a16="http://schemas.microsoft.com/office/drawing/2014/main" id="{6152F8ED-73B9-67BE-4A06-EF976C982B93}"/>
                </a:ext>
              </a:extLst>
            </p:cNvPr>
            <p:cNvSpPr>
              <a:spLocks/>
            </p:cNvSpPr>
            <p:nvPr/>
          </p:nvSpPr>
          <p:spPr bwMode="auto">
            <a:xfrm>
              <a:off x="4035912" y="1021023"/>
              <a:ext cx="851315" cy="738664"/>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square" lIns="0" tIns="0" rIns="0" bIns="0" anchor="ctr">
              <a:spAutoFit/>
            </a:bodyPr>
            <a:lstStyle/>
            <a:p>
              <a:pPr algn="ctr"/>
              <a:r>
                <a:rPr lang="en-GB" sz="4800" b="1" spc="113" dirty="0">
                  <a:solidFill>
                    <a:schemeClr val="bg1"/>
                  </a:solidFill>
                  <a:latin typeface="Calibri" panose="020F0502020204030204" pitchFamily="34" charset="0"/>
                  <a:ea typeface="Roboto" charset="0"/>
                  <a:cs typeface="Calibri" panose="020F0502020204030204" pitchFamily="34" charset="0"/>
                  <a:sym typeface="Bebas Neue" charset="0"/>
                </a:rPr>
                <a:t>02</a:t>
              </a:r>
            </a:p>
          </p:txBody>
        </p:sp>
      </p:grpSp>
      <p:grpSp>
        <p:nvGrpSpPr>
          <p:cNvPr id="53" name="Group 52">
            <a:extLst>
              <a:ext uri="{FF2B5EF4-FFF2-40B4-BE49-F238E27FC236}">
                <a16:creationId xmlns:a16="http://schemas.microsoft.com/office/drawing/2014/main" id="{C268988E-BDA8-A79F-B01F-A3CAEEDD9733}"/>
              </a:ext>
            </a:extLst>
          </p:cNvPr>
          <p:cNvGrpSpPr/>
          <p:nvPr/>
        </p:nvGrpSpPr>
        <p:grpSpPr>
          <a:xfrm>
            <a:off x="4675222" y="4105455"/>
            <a:ext cx="1205556" cy="1116749"/>
            <a:chOff x="3866507" y="700090"/>
            <a:chExt cx="1205556" cy="1116749"/>
          </a:xfrm>
        </p:grpSpPr>
        <p:sp>
          <p:nvSpPr>
            <p:cNvPr id="54" name="Rectangle 53">
              <a:extLst>
                <a:ext uri="{FF2B5EF4-FFF2-40B4-BE49-F238E27FC236}">
                  <a16:creationId xmlns:a16="http://schemas.microsoft.com/office/drawing/2014/main" id="{2F42717B-BA08-E3FC-6FF3-0605861D6D66}"/>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84">
              <a:extLst>
                <a:ext uri="{FF2B5EF4-FFF2-40B4-BE49-F238E27FC236}">
                  <a16:creationId xmlns:a16="http://schemas.microsoft.com/office/drawing/2014/main" id="{FA2BE469-48E3-A2CC-E448-D45C8E2D75BD}"/>
                </a:ext>
              </a:extLst>
            </p:cNvPr>
            <p:cNvSpPr txBox="1"/>
            <p:nvPr/>
          </p:nvSpPr>
          <p:spPr>
            <a:xfrm>
              <a:off x="3956084" y="752336"/>
              <a:ext cx="996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Roboto" charset="0"/>
                  <a:cs typeface="Calibri" panose="020F0502020204030204" pitchFamily="34" charset="0"/>
                </a:rPr>
                <a:t>ΒΗΜΑ</a:t>
              </a:r>
            </a:p>
          </p:txBody>
        </p:sp>
        <p:sp>
          <p:nvSpPr>
            <p:cNvPr id="56" name="Rectangle 85">
              <a:extLst>
                <a:ext uri="{FF2B5EF4-FFF2-40B4-BE49-F238E27FC236}">
                  <a16:creationId xmlns:a16="http://schemas.microsoft.com/office/drawing/2014/main" id="{2F57E5CC-5F3C-7881-6EAB-8E8D2118CFD9}"/>
                </a:ext>
              </a:extLst>
            </p:cNvPr>
            <p:cNvSpPr>
              <a:spLocks/>
            </p:cNvSpPr>
            <p:nvPr/>
          </p:nvSpPr>
          <p:spPr bwMode="auto">
            <a:xfrm>
              <a:off x="4035912" y="1021023"/>
              <a:ext cx="851315" cy="738664"/>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a16="http://schemas.microsoft.com/office/drawing/2014/main"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a16="http://schemas.microsoft.com/office/drawing/2014/main" xmlns="" w="12700">
                  <a:solidFill>
                    <a:schemeClr val="tx1"/>
                  </a:solidFill>
                  <a:miter lim="800000"/>
                  <a:headEnd/>
                  <a:tailEnd/>
                </a14:hiddenLine>
              </a:ext>
            </a:extLst>
          </p:spPr>
          <p:txBody>
            <a:bodyPr wrap="square" lIns="0" tIns="0" rIns="0" bIns="0" anchor="ctr">
              <a:spAutoFit/>
            </a:bodyPr>
            <a:lstStyle/>
            <a:p>
              <a:pPr algn="ctr"/>
              <a:r>
                <a:rPr lang="en-GB" sz="4800" b="1" spc="113" dirty="0">
                  <a:solidFill>
                    <a:schemeClr val="bg1"/>
                  </a:solidFill>
                  <a:latin typeface="Calibri" panose="020F0502020204030204" pitchFamily="34" charset="0"/>
                  <a:ea typeface="Roboto" charset="0"/>
                  <a:cs typeface="Calibri" panose="020F0502020204030204" pitchFamily="34" charset="0"/>
                  <a:sym typeface="Bebas Neue" charset="0"/>
                </a:rPr>
                <a:t>03</a:t>
              </a:r>
            </a:p>
          </p:txBody>
        </p:sp>
      </p:grpSp>
    </p:spTree>
    <p:extLst>
      <p:ext uri="{BB962C8B-B14F-4D97-AF65-F5344CB8AC3E}">
        <p14:creationId xmlns:p14="http://schemas.microsoft.com/office/powerpoint/2010/main" val="2690352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41B82FEE-1C27-6425-3E2E-73E301035009}"/>
              </a:ext>
            </a:extLst>
          </p:cNvPr>
          <p:cNvSpPr>
            <a:spLocks noGrp="1"/>
          </p:cNvSpPr>
          <p:nvPr>
            <p:ph type="body" sz="quarter" idx="18"/>
          </p:nvPr>
        </p:nvSpPr>
        <p:spPr>
          <a:xfrm>
            <a:off x="3971925" y="605588"/>
            <a:ext cx="7631496" cy="5019127"/>
          </a:xfrm>
        </p:spPr>
        <p:txBody>
          <a:bodyPr numCol="1" spcCol="72000">
            <a:normAutofit fontScale="92500" lnSpcReduction="20000"/>
          </a:bodyPr>
          <a:lstStyle/>
          <a:p>
            <a:pPr marL="12700" indent="-12700" algn="just"/>
            <a:r>
              <a:rPr lang="en-US" dirty="0"/>
              <a:t>Ορισμένες από τις πιο επιτυχημένες νεοφυείς επιχειρήσεις στον κόσμο έχουν φτάσει πολύ κοντά στην οικονομική καταστροφή για να ανασυρθούν θεαματικά από το χείλος του γκρεμού. Ένα χαρακτηριστικό παράδειγμα είναι η Evernote, η εταιρεία λογισμικού από το Σαν Φρανσίσκο. Η εταιρεία βρέθηκε με μετρητά μόλις τριών εβδομάδων το 2008, όταν ένας βασικός επενδυτής αποσύρθηκε όταν ξέσπασε η χρηματοπιστωτική κρίση. Ελήφθη η επώδυνη απόφαση να κλείσει η εταιρεία και να εξοικονομήσει χρήματα για τα νομικά έξοδα που συνεπάγεται η παύση λειτουργίας. Ωστόσο, αφού ένας φανατικός χρήστης της Evernote στη Σουηδία επένδυσε μέχρι και μισό εκατομμύριο δολάρια, η νεοφυής επιχείρηση επανήλθε σε τροχιά, συγκέντρωσε 100 εκατομμύρια χρήστες παγκοσμίως και αποτιμήθηκε πρόσφατα σε 1 δισ. δολάρια.</a:t>
            </a:r>
          </a:p>
          <a:p>
            <a:pPr marL="12700" indent="-12700"/>
            <a:endParaRPr lang="en-US" dirty="0"/>
          </a:p>
          <a:p>
            <a:pPr marL="12700" indent="-12700"/>
            <a:r>
              <a:rPr lang="en-GB" sz="2800" b="1" dirty="0">
                <a:solidFill>
                  <a:srgbClr val="B41F7A"/>
                </a:solidFill>
                <a:latin typeface="Calibri" panose="020F0502020204030204" pitchFamily="34" charset="0"/>
                <a:ea typeface="Lato Light" panose="020F0502020204030203" pitchFamily="34" charset="0"/>
                <a:cs typeface="Calibri" panose="020F0502020204030204" pitchFamily="34" charset="0"/>
              </a:rPr>
              <a:t>ΔΙΑΒΑΣΤΕ: </a:t>
            </a:r>
          </a:p>
          <a:p>
            <a:pPr marL="12700" indent="-12700"/>
            <a:r>
              <a:rPr lang="en-GB" b="1" dirty="0">
                <a:solidFill>
                  <a:srgbClr val="B41F7A"/>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Πώς 5 μεγάλες μάρκες επέστρεψαν από το χείλος της αποτυχίας</a:t>
            </a:r>
            <a:endParaRPr lang="en-GB" b="1" dirty="0">
              <a:solidFill>
                <a:srgbClr val="B41F7A"/>
              </a:solidFill>
              <a:latin typeface="Calibri" panose="020F0502020204030204" pitchFamily="34" charset="0"/>
              <a:cs typeface="Calibri" panose="020F0502020204030204" pitchFamily="34" charset="0"/>
            </a:endParaRPr>
          </a:p>
          <a:p>
            <a:pPr marL="12700" indent="-12700"/>
            <a:endParaRPr lang="en-US" dirty="0"/>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479191" y="572475"/>
            <a:ext cx="2670642" cy="3253943"/>
          </a:xfrm>
        </p:spPr>
        <p:txBody>
          <a:bodyPr>
            <a:normAutofit fontScale="92500"/>
          </a:bodyPr>
          <a:lstStyle/>
          <a:p>
            <a:r>
              <a:rPr lang="en-US" dirty="0">
                <a:solidFill>
                  <a:schemeClr val="bg1"/>
                </a:solidFill>
              </a:rPr>
              <a:t>Επιστροφή από </a:t>
            </a:r>
            <a:r>
              <a:rPr lang="en-US" dirty="0" err="1">
                <a:solidFill>
                  <a:schemeClr val="bg1"/>
                </a:solidFill>
              </a:rPr>
              <a:t>το</a:t>
            </a:r>
            <a:r>
              <a:rPr lang="en-US" dirty="0">
                <a:solidFill>
                  <a:schemeClr val="bg1"/>
                </a:solidFill>
              </a:rPr>
              <a:t> χείλος του γκρεμού;</a:t>
            </a:r>
          </a:p>
          <a:p>
            <a:endParaRPr lang="en-US" dirty="0">
              <a:solidFill>
                <a:schemeClr val="bg1"/>
              </a:solidFill>
            </a:endParaRPr>
          </a:p>
          <a:p>
            <a:r>
              <a:rPr lang="en-US" dirty="0">
                <a:solidFill>
                  <a:srgbClr val="EDA13E"/>
                </a:solidFill>
              </a:rPr>
              <a:t>Η ιστορία της Evernote</a:t>
            </a:r>
          </a:p>
          <a:p>
            <a:endParaRPr lang="en-US" dirty="0"/>
          </a:p>
          <a:p>
            <a:endParaRPr lang="en-US" dirty="0"/>
          </a:p>
        </p:txBody>
      </p:sp>
      <p:pic>
        <p:nvPicPr>
          <p:cNvPr id="5" name="Picture 4">
            <a:extLst>
              <a:ext uri="{FF2B5EF4-FFF2-40B4-BE49-F238E27FC236}">
                <a16:creationId xmlns:a16="http://schemas.microsoft.com/office/drawing/2014/main" id="{DCAF31DA-A21E-1210-BD65-1EA75D691421}"/>
              </a:ext>
            </a:extLst>
          </p:cNvPr>
          <p:cNvPicPr>
            <a:picLocks noChangeAspect="1"/>
          </p:cNvPicPr>
          <p:nvPr/>
        </p:nvPicPr>
        <p:blipFill>
          <a:blip r:embed="rId3"/>
          <a:stretch>
            <a:fillRect/>
          </a:stretch>
        </p:blipFill>
        <p:spPr>
          <a:xfrm>
            <a:off x="-28574" y="4487228"/>
            <a:ext cx="3747874" cy="1137487"/>
          </a:xfrm>
          <a:prstGeom prst="rect">
            <a:avLst/>
          </a:prstGeom>
        </p:spPr>
      </p:pic>
    </p:spTree>
    <p:extLst>
      <p:ext uri="{BB962C8B-B14F-4D97-AF65-F5344CB8AC3E}">
        <p14:creationId xmlns:p14="http://schemas.microsoft.com/office/powerpoint/2010/main" val="177213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4 </a:t>
            </a:r>
            <a:r>
              <a:rPr lang="el-GR" sz="4000" dirty="0">
                <a:solidFill>
                  <a:schemeClr val="bg1"/>
                </a:solidFill>
              </a:rPr>
              <a:t>    </a:t>
            </a:r>
            <a:r>
              <a:rPr lang="en-IE" dirty="0" err="1">
                <a:solidFill>
                  <a:schemeClr val="bg1"/>
                </a:solidFill>
              </a:rPr>
              <a:t>Σημάδι</a:t>
            </a:r>
            <a:r>
              <a:rPr lang="en-IE" dirty="0">
                <a:solidFill>
                  <a:schemeClr val="bg1"/>
                </a:solidFill>
              </a:rPr>
              <a:t>α χαλάρωσης</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7" y="1918123"/>
            <a:ext cx="9831643" cy="4255886"/>
          </a:xfrm>
        </p:spPr>
        <p:txBody>
          <a:bodyPr>
            <a:normAutofit lnSpcReduction="10000"/>
          </a:bodyPr>
          <a:lstStyle/>
          <a:p>
            <a:pPr marL="12700" indent="-12700"/>
            <a:r>
              <a:rPr lang="en-US" dirty="0"/>
              <a:t>Εάν τα μέτρα που εφαρμόζονται είναι επιτυχή, τα πρώτα σημάδια χαλάρωσης αρχίζουν τώρα να εμφανίζονται. </a:t>
            </a:r>
          </a:p>
          <a:p>
            <a:pPr marL="12700" indent="-12700"/>
            <a:r>
              <a:rPr lang="en-US" dirty="0"/>
              <a:t>Ωστόσο, η αναδιάρθρωση πρέπει να συνεχίσει να εφαρμόζεται με συνέπεια. </a:t>
            </a:r>
          </a:p>
          <a:p>
            <a:pPr marL="12700" indent="-12700"/>
            <a:r>
              <a:rPr lang="en-US" b="1" dirty="0">
                <a:solidFill>
                  <a:srgbClr val="F16924"/>
                </a:solidFill>
              </a:rPr>
              <a:t>Μην εφησυχάζετε.</a:t>
            </a:r>
          </a:p>
          <a:p>
            <a:pPr marL="12700" indent="-12700"/>
            <a:endParaRPr lang="en-US" b="1" dirty="0">
              <a:solidFill>
                <a:srgbClr val="F16924"/>
              </a:solidFill>
            </a:endParaRPr>
          </a:p>
          <a:p>
            <a:pPr marL="12700" indent="-12700"/>
            <a:r>
              <a:rPr lang="en-US" b="1" dirty="0">
                <a:solidFill>
                  <a:schemeClr val="bg1"/>
                </a:solidFill>
                <a:highlight>
                  <a:srgbClr val="F16924"/>
                </a:highlight>
              </a:rPr>
              <a:t>ΔΙΑΒΑΣΤΕ </a:t>
            </a:r>
            <a:r>
              <a:rPr lang="en-US" dirty="0"/>
              <a:t>Πραγματικά ενδιαφέρον άρθρο στο LINKEDIN - </a:t>
            </a:r>
            <a:r>
              <a:rPr lang="en-GB" dirty="0"/>
              <a:t>Πώς ο εφησυχασμός σχεδόν σκότωσε την επιχείρησή μου - Όταν </a:t>
            </a:r>
            <a:r>
              <a:rPr lang="en-GB" b="1" dirty="0"/>
              <a:t>εφησυχάζετε, θέτετε την επιχείρησή σας σε κίνδυνο. Αυτοί οι επτά κίνδυνοι υποδηλώνουν ότι πρέπει να επανεκτιμήσετε τον τρόπο με τον οποίο διευθύνετε την επιχείρησή σας. </a:t>
            </a:r>
            <a:r>
              <a:rPr lang="en-US" b="1" dirty="0">
                <a:solidFill>
                  <a:srgbClr val="F16924"/>
                </a:solidFill>
              </a:rPr>
              <a:t>https://www.linkedin.com/pulse/how-complacency-almost-killed-my-business-hassan-younes/?articleId=6541136148297846784</a:t>
            </a:r>
          </a:p>
        </p:txBody>
      </p:sp>
      <p:grpSp>
        <p:nvGrpSpPr>
          <p:cNvPr id="2" name="Group 1">
            <a:extLst>
              <a:ext uri="{FF2B5EF4-FFF2-40B4-BE49-F238E27FC236}">
                <a16:creationId xmlns:a16="http://schemas.microsoft.com/office/drawing/2014/main" id="{6560FC22-DF33-2D88-FAD5-D0E11B378B20}"/>
              </a:ext>
            </a:extLst>
          </p:cNvPr>
          <p:cNvGrpSpPr/>
          <p:nvPr/>
        </p:nvGrpSpPr>
        <p:grpSpPr>
          <a:xfrm>
            <a:off x="466113" y="1918123"/>
            <a:ext cx="1086135" cy="968195"/>
            <a:chOff x="4422991" y="1951890"/>
            <a:chExt cx="1086135" cy="968195"/>
          </a:xfrm>
          <a:solidFill>
            <a:srgbClr val="595959"/>
          </a:solidFill>
        </p:grpSpPr>
        <p:sp>
          <p:nvSpPr>
            <p:cNvPr id="3" name="Freeform 2">
              <a:extLst>
                <a:ext uri="{FF2B5EF4-FFF2-40B4-BE49-F238E27FC236}">
                  <a16:creationId xmlns:a16="http://schemas.microsoft.com/office/drawing/2014/main" id="{A2AA5479-47BC-FB75-A2CD-308581D51E9F}"/>
                </a:ext>
              </a:extLst>
            </p:cNvPr>
            <p:cNvSpPr/>
            <p:nvPr/>
          </p:nvSpPr>
          <p:spPr>
            <a:xfrm>
              <a:off x="4422991" y="1951890"/>
              <a:ext cx="1086135" cy="968195"/>
            </a:xfrm>
            <a:custGeom>
              <a:avLst/>
              <a:gdLst>
                <a:gd name="connsiteX0" fmla="*/ 704891 w 1086135"/>
                <a:gd name="connsiteY0" fmla="*/ 315418 h 968195"/>
                <a:gd name="connsiteX1" fmla="*/ 682949 w 1086135"/>
                <a:gd name="connsiteY1" fmla="*/ 293475 h 968195"/>
                <a:gd name="connsiteX2" fmla="*/ 614380 w 1086135"/>
                <a:gd name="connsiteY2" fmla="*/ 296218 h 968195"/>
                <a:gd name="connsiteX3" fmla="*/ 600666 w 1086135"/>
                <a:gd name="connsiteY3" fmla="*/ 329131 h 968195"/>
                <a:gd name="connsiteX4" fmla="*/ 614380 w 1086135"/>
                <a:gd name="connsiteY4" fmla="*/ 362045 h 968195"/>
                <a:gd name="connsiteX5" fmla="*/ 633579 w 1086135"/>
                <a:gd name="connsiteY5" fmla="*/ 381244 h 968195"/>
                <a:gd name="connsiteX6" fmla="*/ 658265 w 1086135"/>
                <a:gd name="connsiteY6" fmla="*/ 403186 h 968195"/>
                <a:gd name="connsiteX7" fmla="*/ 715862 w 1086135"/>
                <a:gd name="connsiteY7" fmla="*/ 458041 h 968195"/>
                <a:gd name="connsiteX8" fmla="*/ 748776 w 1086135"/>
                <a:gd name="connsiteY8" fmla="*/ 471755 h 968195"/>
                <a:gd name="connsiteX9" fmla="*/ 751519 w 1086135"/>
                <a:gd name="connsiteY9" fmla="*/ 471755 h 968195"/>
                <a:gd name="connsiteX10" fmla="*/ 784431 w 1086135"/>
                <a:gd name="connsiteY10" fmla="*/ 455299 h 968195"/>
                <a:gd name="connsiteX11" fmla="*/ 795403 w 1086135"/>
                <a:gd name="connsiteY11" fmla="*/ 441585 h 968195"/>
                <a:gd name="connsiteX12" fmla="*/ 795403 w 1086135"/>
                <a:gd name="connsiteY12" fmla="*/ 490955 h 968195"/>
                <a:gd name="connsiteX13" fmla="*/ 795403 w 1086135"/>
                <a:gd name="connsiteY13" fmla="*/ 493697 h 968195"/>
                <a:gd name="connsiteX14" fmla="*/ 809117 w 1086135"/>
                <a:gd name="connsiteY14" fmla="*/ 562266 h 968195"/>
                <a:gd name="connsiteX15" fmla="*/ 817345 w 1086135"/>
                <a:gd name="connsiteY15" fmla="*/ 650035 h 968195"/>
                <a:gd name="connsiteX16" fmla="*/ 817345 w 1086135"/>
                <a:gd name="connsiteY16" fmla="*/ 806372 h 968195"/>
                <a:gd name="connsiteX17" fmla="*/ 767975 w 1086135"/>
                <a:gd name="connsiteY17" fmla="*/ 863970 h 968195"/>
                <a:gd name="connsiteX18" fmla="*/ 767975 w 1086135"/>
                <a:gd name="connsiteY18" fmla="*/ 872198 h 968195"/>
                <a:gd name="connsiteX19" fmla="*/ 304447 w 1086135"/>
                <a:gd name="connsiteY19" fmla="*/ 872198 h 968195"/>
                <a:gd name="connsiteX20" fmla="*/ 304447 w 1086135"/>
                <a:gd name="connsiteY20" fmla="*/ 863970 h 968195"/>
                <a:gd name="connsiteX21" fmla="*/ 255077 w 1086135"/>
                <a:gd name="connsiteY21" fmla="*/ 806372 h 968195"/>
                <a:gd name="connsiteX22" fmla="*/ 255077 w 1086135"/>
                <a:gd name="connsiteY22" fmla="*/ 650035 h 968195"/>
                <a:gd name="connsiteX23" fmla="*/ 263306 w 1086135"/>
                <a:gd name="connsiteY23" fmla="*/ 562266 h 968195"/>
                <a:gd name="connsiteX24" fmla="*/ 277020 w 1086135"/>
                <a:gd name="connsiteY24" fmla="*/ 493697 h 968195"/>
                <a:gd name="connsiteX25" fmla="*/ 277020 w 1086135"/>
                <a:gd name="connsiteY25" fmla="*/ 490955 h 968195"/>
                <a:gd name="connsiteX26" fmla="*/ 277020 w 1086135"/>
                <a:gd name="connsiteY26" fmla="*/ 441585 h 968195"/>
                <a:gd name="connsiteX27" fmla="*/ 287991 w 1086135"/>
                <a:gd name="connsiteY27" fmla="*/ 455299 h 968195"/>
                <a:gd name="connsiteX28" fmla="*/ 320904 w 1086135"/>
                <a:gd name="connsiteY28" fmla="*/ 471755 h 968195"/>
                <a:gd name="connsiteX29" fmla="*/ 323647 w 1086135"/>
                <a:gd name="connsiteY29" fmla="*/ 471755 h 968195"/>
                <a:gd name="connsiteX30" fmla="*/ 356560 w 1086135"/>
                <a:gd name="connsiteY30" fmla="*/ 458041 h 968195"/>
                <a:gd name="connsiteX31" fmla="*/ 414158 w 1086135"/>
                <a:gd name="connsiteY31" fmla="*/ 403186 h 968195"/>
                <a:gd name="connsiteX32" fmla="*/ 438843 w 1086135"/>
                <a:gd name="connsiteY32" fmla="*/ 381244 h 968195"/>
                <a:gd name="connsiteX33" fmla="*/ 458042 w 1086135"/>
                <a:gd name="connsiteY33" fmla="*/ 362045 h 968195"/>
                <a:gd name="connsiteX34" fmla="*/ 471756 w 1086135"/>
                <a:gd name="connsiteY34" fmla="*/ 329131 h 968195"/>
                <a:gd name="connsiteX35" fmla="*/ 458042 w 1086135"/>
                <a:gd name="connsiteY35" fmla="*/ 296218 h 968195"/>
                <a:gd name="connsiteX36" fmla="*/ 389473 w 1086135"/>
                <a:gd name="connsiteY36" fmla="*/ 293475 h 968195"/>
                <a:gd name="connsiteX37" fmla="*/ 367531 w 1086135"/>
                <a:gd name="connsiteY37" fmla="*/ 315418 h 968195"/>
                <a:gd name="connsiteX38" fmla="*/ 345589 w 1086135"/>
                <a:gd name="connsiteY38" fmla="*/ 337360 h 968195"/>
                <a:gd name="connsiteX39" fmla="*/ 326390 w 1086135"/>
                <a:gd name="connsiteY39" fmla="*/ 356559 h 968195"/>
                <a:gd name="connsiteX40" fmla="*/ 274277 w 1086135"/>
                <a:gd name="connsiteY40" fmla="*/ 293475 h 968195"/>
                <a:gd name="connsiteX41" fmla="*/ 252335 w 1086135"/>
                <a:gd name="connsiteY41" fmla="*/ 252334 h 968195"/>
                <a:gd name="connsiteX42" fmla="*/ 244107 w 1086135"/>
                <a:gd name="connsiteY42" fmla="*/ 244106 h 968195"/>
                <a:gd name="connsiteX43" fmla="*/ 244107 w 1086135"/>
                <a:gd name="connsiteY43" fmla="*/ 200222 h 968195"/>
                <a:gd name="connsiteX44" fmla="*/ 277020 w 1086135"/>
                <a:gd name="connsiteY44" fmla="*/ 137138 h 968195"/>
                <a:gd name="connsiteX45" fmla="*/ 277020 w 1086135"/>
                <a:gd name="connsiteY45" fmla="*/ 117939 h 968195"/>
                <a:gd name="connsiteX46" fmla="*/ 312676 w 1086135"/>
                <a:gd name="connsiteY46" fmla="*/ 76797 h 968195"/>
                <a:gd name="connsiteX47" fmla="*/ 235878 w 1086135"/>
                <a:gd name="connsiteY47" fmla="*/ 0 h 968195"/>
                <a:gd name="connsiteX48" fmla="*/ 183765 w 1086135"/>
                <a:gd name="connsiteY48" fmla="*/ 0 h 968195"/>
                <a:gd name="connsiteX49" fmla="*/ 123425 w 1086135"/>
                <a:gd name="connsiteY49" fmla="*/ 24685 h 968195"/>
                <a:gd name="connsiteX50" fmla="*/ 98740 w 1086135"/>
                <a:gd name="connsiteY50" fmla="*/ 85026 h 968195"/>
                <a:gd name="connsiteX51" fmla="*/ 98740 w 1086135"/>
                <a:gd name="connsiteY51" fmla="*/ 145366 h 968195"/>
                <a:gd name="connsiteX52" fmla="*/ 150852 w 1086135"/>
                <a:gd name="connsiteY52" fmla="*/ 211193 h 968195"/>
                <a:gd name="connsiteX53" fmla="*/ 150852 w 1086135"/>
                <a:gd name="connsiteY53" fmla="*/ 244106 h 968195"/>
                <a:gd name="connsiteX54" fmla="*/ 120682 w 1086135"/>
                <a:gd name="connsiteY54" fmla="*/ 307189 h 968195"/>
                <a:gd name="connsiteX55" fmla="*/ 120682 w 1086135"/>
                <a:gd name="connsiteY55" fmla="*/ 496440 h 968195"/>
                <a:gd name="connsiteX56" fmla="*/ 145367 w 1086135"/>
                <a:gd name="connsiteY56" fmla="*/ 559524 h 968195"/>
                <a:gd name="connsiteX57" fmla="*/ 156338 w 1086135"/>
                <a:gd name="connsiteY57" fmla="*/ 581466 h 968195"/>
                <a:gd name="connsiteX58" fmla="*/ 159081 w 1086135"/>
                <a:gd name="connsiteY58" fmla="*/ 606151 h 968195"/>
                <a:gd name="connsiteX59" fmla="*/ 159081 w 1086135"/>
                <a:gd name="connsiteY59" fmla="*/ 685691 h 968195"/>
                <a:gd name="connsiteX60" fmla="*/ 175537 w 1086135"/>
                <a:gd name="connsiteY60" fmla="*/ 702147 h 968195"/>
                <a:gd name="connsiteX61" fmla="*/ 191994 w 1086135"/>
                <a:gd name="connsiteY61" fmla="*/ 685691 h 968195"/>
                <a:gd name="connsiteX62" fmla="*/ 191994 w 1086135"/>
                <a:gd name="connsiteY62" fmla="*/ 606151 h 968195"/>
                <a:gd name="connsiteX63" fmla="*/ 186508 w 1086135"/>
                <a:gd name="connsiteY63" fmla="*/ 573238 h 968195"/>
                <a:gd name="connsiteX64" fmla="*/ 170051 w 1086135"/>
                <a:gd name="connsiteY64" fmla="*/ 543067 h 968195"/>
                <a:gd name="connsiteX65" fmla="*/ 153595 w 1086135"/>
                <a:gd name="connsiteY65" fmla="*/ 507411 h 968195"/>
                <a:gd name="connsiteX66" fmla="*/ 244107 w 1086135"/>
                <a:gd name="connsiteY66" fmla="*/ 507411 h 968195"/>
                <a:gd name="connsiteX67" fmla="*/ 233135 w 1086135"/>
                <a:gd name="connsiteY67" fmla="*/ 556781 h 968195"/>
                <a:gd name="connsiteX68" fmla="*/ 222164 w 1086135"/>
                <a:gd name="connsiteY68" fmla="*/ 652778 h 968195"/>
                <a:gd name="connsiteX69" fmla="*/ 222164 w 1086135"/>
                <a:gd name="connsiteY69" fmla="*/ 809115 h 968195"/>
                <a:gd name="connsiteX70" fmla="*/ 200222 w 1086135"/>
                <a:gd name="connsiteY70" fmla="*/ 809115 h 968195"/>
                <a:gd name="connsiteX71" fmla="*/ 200222 w 1086135"/>
                <a:gd name="connsiteY71" fmla="*/ 757003 h 968195"/>
                <a:gd name="connsiteX72" fmla="*/ 183765 w 1086135"/>
                <a:gd name="connsiteY72" fmla="*/ 740546 h 968195"/>
                <a:gd name="connsiteX73" fmla="*/ 167309 w 1086135"/>
                <a:gd name="connsiteY73" fmla="*/ 757003 h 968195"/>
                <a:gd name="connsiteX74" fmla="*/ 167309 w 1086135"/>
                <a:gd name="connsiteY74" fmla="*/ 874941 h 968195"/>
                <a:gd name="connsiteX75" fmla="*/ 46627 w 1086135"/>
                <a:gd name="connsiteY75" fmla="*/ 874941 h 968195"/>
                <a:gd name="connsiteX76" fmla="*/ 0 w 1086135"/>
                <a:gd name="connsiteY76" fmla="*/ 921568 h 968195"/>
                <a:gd name="connsiteX77" fmla="*/ 46627 w 1086135"/>
                <a:gd name="connsiteY77" fmla="*/ 968195 h 968195"/>
                <a:gd name="connsiteX78" fmla="*/ 1039509 w 1086135"/>
                <a:gd name="connsiteY78" fmla="*/ 968195 h 968195"/>
                <a:gd name="connsiteX79" fmla="*/ 1086136 w 1086135"/>
                <a:gd name="connsiteY79" fmla="*/ 921568 h 968195"/>
                <a:gd name="connsiteX80" fmla="*/ 1039509 w 1086135"/>
                <a:gd name="connsiteY80" fmla="*/ 874941 h 968195"/>
                <a:gd name="connsiteX81" fmla="*/ 918828 w 1086135"/>
                <a:gd name="connsiteY81" fmla="*/ 874941 h 968195"/>
                <a:gd name="connsiteX82" fmla="*/ 918828 w 1086135"/>
                <a:gd name="connsiteY82" fmla="*/ 606151 h 968195"/>
                <a:gd name="connsiteX83" fmla="*/ 921570 w 1086135"/>
                <a:gd name="connsiteY83" fmla="*/ 581466 h 968195"/>
                <a:gd name="connsiteX84" fmla="*/ 932541 w 1086135"/>
                <a:gd name="connsiteY84" fmla="*/ 559524 h 968195"/>
                <a:gd name="connsiteX85" fmla="*/ 957226 w 1086135"/>
                <a:gd name="connsiteY85" fmla="*/ 496440 h 968195"/>
                <a:gd name="connsiteX86" fmla="*/ 957226 w 1086135"/>
                <a:gd name="connsiteY86" fmla="*/ 414157 h 968195"/>
                <a:gd name="connsiteX87" fmla="*/ 940769 w 1086135"/>
                <a:gd name="connsiteY87" fmla="*/ 397701 h 968195"/>
                <a:gd name="connsiteX88" fmla="*/ 924313 w 1086135"/>
                <a:gd name="connsiteY88" fmla="*/ 414157 h 968195"/>
                <a:gd name="connsiteX89" fmla="*/ 924313 w 1086135"/>
                <a:gd name="connsiteY89" fmla="*/ 474498 h 968195"/>
                <a:gd name="connsiteX90" fmla="*/ 831059 w 1086135"/>
                <a:gd name="connsiteY90" fmla="*/ 474498 h 968195"/>
                <a:gd name="connsiteX91" fmla="*/ 831059 w 1086135"/>
                <a:gd name="connsiteY91" fmla="*/ 403186 h 968195"/>
                <a:gd name="connsiteX92" fmla="*/ 880428 w 1086135"/>
                <a:gd name="connsiteY92" fmla="*/ 345588 h 968195"/>
                <a:gd name="connsiteX93" fmla="*/ 885914 w 1086135"/>
                <a:gd name="connsiteY93" fmla="*/ 340103 h 968195"/>
                <a:gd name="connsiteX94" fmla="*/ 885914 w 1086135"/>
                <a:gd name="connsiteY94" fmla="*/ 340103 h 968195"/>
                <a:gd name="connsiteX95" fmla="*/ 880428 w 1086135"/>
                <a:gd name="connsiteY95" fmla="*/ 274276 h 968195"/>
                <a:gd name="connsiteX96" fmla="*/ 861229 w 1086135"/>
                <a:gd name="connsiteY96" fmla="*/ 263305 h 968195"/>
                <a:gd name="connsiteX97" fmla="*/ 883171 w 1086135"/>
                <a:gd name="connsiteY97" fmla="*/ 257820 h 968195"/>
                <a:gd name="connsiteX98" fmla="*/ 929798 w 1086135"/>
                <a:gd name="connsiteY98" fmla="*/ 304447 h 968195"/>
                <a:gd name="connsiteX99" fmla="*/ 929798 w 1086135"/>
                <a:gd name="connsiteY99" fmla="*/ 345588 h 968195"/>
                <a:gd name="connsiteX100" fmla="*/ 946255 w 1086135"/>
                <a:gd name="connsiteY100" fmla="*/ 362045 h 968195"/>
                <a:gd name="connsiteX101" fmla="*/ 962711 w 1086135"/>
                <a:gd name="connsiteY101" fmla="*/ 345588 h 968195"/>
                <a:gd name="connsiteX102" fmla="*/ 962711 w 1086135"/>
                <a:gd name="connsiteY102" fmla="*/ 309932 h 968195"/>
                <a:gd name="connsiteX103" fmla="*/ 932541 w 1086135"/>
                <a:gd name="connsiteY103" fmla="*/ 246849 h 968195"/>
                <a:gd name="connsiteX104" fmla="*/ 932541 w 1086135"/>
                <a:gd name="connsiteY104" fmla="*/ 200222 h 968195"/>
                <a:gd name="connsiteX105" fmla="*/ 951740 w 1086135"/>
                <a:gd name="connsiteY105" fmla="*/ 181022 h 968195"/>
                <a:gd name="connsiteX106" fmla="*/ 984654 w 1086135"/>
                <a:gd name="connsiteY106" fmla="*/ 134396 h 968195"/>
                <a:gd name="connsiteX107" fmla="*/ 984654 w 1086135"/>
                <a:gd name="connsiteY107" fmla="*/ 63084 h 968195"/>
                <a:gd name="connsiteX108" fmla="*/ 965454 w 1086135"/>
                <a:gd name="connsiteY108" fmla="*/ 19199 h 968195"/>
                <a:gd name="connsiteX109" fmla="*/ 921570 w 1086135"/>
                <a:gd name="connsiteY109" fmla="*/ 0 h 968195"/>
                <a:gd name="connsiteX110" fmla="*/ 800888 w 1086135"/>
                <a:gd name="connsiteY110" fmla="*/ 0 h 968195"/>
                <a:gd name="connsiteX111" fmla="*/ 767975 w 1086135"/>
                <a:gd name="connsiteY111" fmla="*/ 32913 h 968195"/>
                <a:gd name="connsiteX112" fmla="*/ 803631 w 1086135"/>
                <a:gd name="connsiteY112" fmla="*/ 101482 h 968195"/>
                <a:gd name="connsiteX113" fmla="*/ 803631 w 1086135"/>
                <a:gd name="connsiteY113" fmla="*/ 134396 h 968195"/>
                <a:gd name="connsiteX114" fmla="*/ 836544 w 1086135"/>
                <a:gd name="connsiteY114" fmla="*/ 197479 h 968195"/>
                <a:gd name="connsiteX115" fmla="*/ 836544 w 1086135"/>
                <a:gd name="connsiteY115" fmla="*/ 244106 h 968195"/>
                <a:gd name="connsiteX116" fmla="*/ 828316 w 1086135"/>
                <a:gd name="connsiteY116" fmla="*/ 252334 h 968195"/>
                <a:gd name="connsiteX117" fmla="*/ 806374 w 1086135"/>
                <a:gd name="connsiteY117" fmla="*/ 293475 h 968195"/>
                <a:gd name="connsiteX118" fmla="*/ 754261 w 1086135"/>
                <a:gd name="connsiteY118" fmla="*/ 356559 h 968195"/>
                <a:gd name="connsiteX119" fmla="*/ 735062 w 1086135"/>
                <a:gd name="connsiteY119" fmla="*/ 337360 h 968195"/>
                <a:gd name="connsiteX120" fmla="*/ 927055 w 1086135"/>
                <a:gd name="connsiteY120" fmla="*/ 507411 h 968195"/>
                <a:gd name="connsiteX121" fmla="*/ 910599 w 1086135"/>
                <a:gd name="connsiteY121" fmla="*/ 543067 h 968195"/>
                <a:gd name="connsiteX122" fmla="*/ 894142 w 1086135"/>
                <a:gd name="connsiteY122" fmla="*/ 573238 h 968195"/>
                <a:gd name="connsiteX123" fmla="*/ 888657 w 1086135"/>
                <a:gd name="connsiteY123" fmla="*/ 606151 h 968195"/>
                <a:gd name="connsiteX124" fmla="*/ 888657 w 1086135"/>
                <a:gd name="connsiteY124" fmla="*/ 806372 h 968195"/>
                <a:gd name="connsiteX125" fmla="*/ 855743 w 1086135"/>
                <a:gd name="connsiteY125" fmla="*/ 806372 h 968195"/>
                <a:gd name="connsiteX126" fmla="*/ 855743 w 1086135"/>
                <a:gd name="connsiteY126" fmla="*/ 650035 h 968195"/>
                <a:gd name="connsiteX127" fmla="*/ 844772 w 1086135"/>
                <a:gd name="connsiteY127" fmla="*/ 554038 h 968195"/>
                <a:gd name="connsiteX128" fmla="*/ 833802 w 1086135"/>
                <a:gd name="connsiteY128" fmla="*/ 504669 h 968195"/>
                <a:gd name="connsiteX129" fmla="*/ 927055 w 1086135"/>
                <a:gd name="connsiteY129" fmla="*/ 504669 h 968195"/>
                <a:gd name="connsiteX130" fmla="*/ 896885 w 1086135"/>
                <a:gd name="connsiteY130" fmla="*/ 230392 h 968195"/>
                <a:gd name="connsiteX131" fmla="*/ 880428 w 1086135"/>
                <a:gd name="connsiteY131" fmla="*/ 227649 h 968195"/>
                <a:gd name="connsiteX132" fmla="*/ 863972 w 1086135"/>
                <a:gd name="connsiteY132" fmla="*/ 230392 h 968195"/>
                <a:gd name="connsiteX133" fmla="*/ 863972 w 1086135"/>
                <a:gd name="connsiteY133" fmla="*/ 213936 h 968195"/>
                <a:gd name="connsiteX134" fmla="*/ 880428 w 1086135"/>
                <a:gd name="connsiteY134" fmla="*/ 216678 h 968195"/>
                <a:gd name="connsiteX135" fmla="*/ 896885 w 1086135"/>
                <a:gd name="connsiteY135" fmla="*/ 213936 h 968195"/>
                <a:gd name="connsiteX136" fmla="*/ 896885 w 1086135"/>
                <a:gd name="connsiteY136" fmla="*/ 230392 h 968195"/>
                <a:gd name="connsiteX137" fmla="*/ 795403 w 1086135"/>
                <a:gd name="connsiteY137" fmla="*/ 32913 h 968195"/>
                <a:gd name="connsiteX138" fmla="*/ 916085 w 1086135"/>
                <a:gd name="connsiteY138" fmla="*/ 32913 h 968195"/>
                <a:gd name="connsiteX139" fmla="*/ 938026 w 1086135"/>
                <a:gd name="connsiteY139" fmla="*/ 41141 h 968195"/>
                <a:gd name="connsiteX140" fmla="*/ 946255 w 1086135"/>
                <a:gd name="connsiteY140" fmla="*/ 63084 h 968195"/>
                <a:gd name="connsiteX141" fmla="*/ 946255 w 1086135"/>
                <a:gd name="connsiteY141" fmla="*/ 134396 h 968195"/>
                <a:gd name="connsiteX142" fmla="*/ 929798 w 1086135"/>
                <a:gd name="connsiteY142" fmla="*/ 150852 h 968195"/>
                <a:gd name="connsiteX143" fmla="*/ 913342 w 1086135"/>
                <a:gd name="connsiteY143" fmla="*/ 134396 h 968195"/>
                <a:gd name="connsiteX144" fmla="*/ 866714 w 1086135"/>
                <a:gd name="connsiteY144" fmla="*/ 87768 h 968195"/>
                <a:gd name="connsiteX145" fmla="*/ 850258 w 1086135"/>
                <a:gd name="connsiteY145" fmla="*/ 87768 h 968195"/>
                <a:gd name="connsiteX146" fmla="*/ 795403 w 1086135"/>
                <a:gd name="connsiteY146" fmla="*/ 32913 h 968195"/>
                <a:gd name="connsiteX147" fmla="*/ 831059 w 1086135"/>
                <a:gd name="connsiteY147" fmla="*/ 134396 h 968195"/>
                <a:gd name="connsiteX148" fmla="*/ 831059 w 1086135"/>
                <a:gd name="connsiteY148" fmla="*/ 115196 h 968195"/>
                <a:gd name="connsiteX149" fmla="*/ 850258 w 1086135"/>
                <a:gd name="connsiteY149" fmla="*/ 117939 h 968195"/>
                <a:gd name="connsiteX150" fmla="*/ 866714 w 1086135"/>
                <a:gd name="connsiteY150" fmla="*/ 117939 h 968195"/>
                <a:gd name="connsiteX151" fmla="*/ 880428 w 1086135"/>
                <a:gd name="connsiteY151" fmla="*/ 131653 h 968195"/>
                <a:gd name="connsiteX152" fmla="*/ 905114 w 1086135"/>
                <a:gd name="connsiteY152" fmla="*/ 172794 h 968195"/>
                <a:gd name="connsiteX153" fmla="*/ 877686 w 1086135"/>
                <a:gd name="connsiteY153" fmla="*/ 181022 h 968195"/>
                <a:gd name="connsiteX154" fmla="*/ 831059 w 1086135"/>
                <a:gd name="connsiteY154" fmla="*/ 134396 h 968195"/>
                <a:gd name="connsiteX155" fmla="*/ 765232 w 1086135"/>
                <a:gd name="connsiteY155" fmla="*/ 436099 h 968195"/>
                <a:gd name="connsiteX156" fmla="*/ 765232 w 1086135"/>
                <a:gd name="connsiteY156" fmla="*/ 436099 h 968195"/>
                <a:gd name="connsiteX157" fmla="*/ 754261 w 1086135"/>
                <a:gd name="connsiteY157" fmla="*/ 441585 h 968195"/>
                <a:gd name="connsiteX158" fmla="*/ 743290 w 1086135"/>
                <a:gd name="connsiteY158" fmla="*/ 438842 h 968195"/>
                <a:gd name="connsiteX159" fmla="*/ 743290 w 1086135"/>
                <a:gd name="connsiteY159" fmla="*/ 438842 h 968195"/>
                <a:gd name="connsiteX160" fmla="*/ 641808 w 1086135"/>
                <a:gd name="connsiteY160" fmla="*/ 340103 h 968195"/>
                <a:gd name="connsiteX161" fmla="*/ 636322 w 1086135"/>
                <a:gd name="connsiteY161" fmla="*/ 329131 h 968195"/>
                <a:gd name="connsiteX162" fmla="*/ 641808 w 1086135"/>
                <a:gd name="connsiteY162" fmla="*/ 318161 h 968195"/>
                <a:gd name="connsiteX163" fmla="*/ 663750 w 1086135"/>
                <a:gd name="connsiteY163" fmla="*/ 318161 h 968195"/>
                <a:gd name="connsiteX164" fmla="*/ 743290 w 1086135"/>
                <a:gd name="connsiteY164" fmla="*/ 392215 h 968195"/>
                <a:gd name="connsiteX165" fmla="*/ 754261 w 1086135"/>
                <a:gd name="connsiteY165" fmla="*/ 397701 h 968195"/>
                <a:gd name="connsiteX166" fmla="*/ 765232 w 1086135"/>
                <a:gd name="connsiteY166" fmla="*/ 392215 h 968195"/>
                <a:gd name="connsiteX167" fmla="*/ 778946 w 1086135"/>
                <a:gd name="connsiteY167" fmla="*/ 375758 h 968195"/>
                <a:gd name="connsiteX168" fmla="*/ 803631 w 1086135"/>
                <a:gd name="connsiteY168" fmla="*/ 397701 h 968195"/>
                <a:gd name="connsiteX169" fmla="*/ 765232 w 1086135"/>
                <a:gd name="connsiteY169" fmla="*/ 436099 h 968195"/>
                <a:gd name="connsiteX170" fmla="*/ 820088 w 1086135"/>
                <a:gd name="connsiteY170" fmla="*/ 370273 h 968195"/>
                <a:gd name="connsiteX171" fmla="*/ 795403 w 1086135"/>
                <a:gd name="connsiteY171" fmla="*/ 348331 h 968195"/>
                <a:gd name="connsiteX172" fmla="*/ 833802 w 1086135"/>
                <a:gd name="connsiteY172" fmla="*/ 301704 h 968195"/>
                <a:gd name="connsiteX173" fmla="*/ 855743 w 1086135"/>
                <a:gd name="connsiteY173" fmla="*/ 298961 h 968195"/>
                <a:gd name="connsiteX174" fmla="*/ 858486 w 1086135"/>
                <a:gd name="connsiteY174" fmla="*/ 320903 h 968195"/>
                <a:gd name="connsiteX175" fmla="*/ 820088 w 1086135"/>
                <a:gd name="connsiteY175" fmla="*/ 370273 h 968195"/>
                <a:gd name="connsiteX176" fmla="*/ 806374 w 1086135"/>
                <a:gd name="connsiteY176" fmla="*/ 866713 h 968195"/>
                <a:gd name="connsiteX177" fmla="*/ 833802 w 1086135"/>
                <a:gd name="connsiteY177" fmla="*/ 839285 h 968195"/>
                <a:gd name="connsiteX178" fmla="*/ 888657 w 1086135"/>
                <a:gd name="connsiteY178" fmla="*/ 839285 h 968195"/>
                <a:gd name="connsiteX179" fmla="*/ 888657 w 1086135"/>
                <a:gd name="connsiteY179" fmla="*/ 874941 h 968195"/>
                <a:gd name="connsiteX180" fmla="*/ 809117 w 1086135"/>
                <a:gd name="connsiteY180" fmla="*/ 874941 h 968195"/>
                <a:gd name="connsiteX181" fmla="*/ 809117 w 1086135"/>
                <a:gd name="connsiteY181" fmla="*/ 866713 h 968195"/>
                <a:gd name="connsiteX182" fmla="*/ 326390 w 1086135"/>
                <a:gd name="connsiteY182" fmla="*/ 389472 h 968195"/>
                <a:gd name="connsiteX183" fmla="*/ 337360 w 1086135"/>
                <a:gd name="connsiteY183" fmla="*/ 394958 h 968195"/>
                <a:gd name="connsiteX184" fmla="*/ 348331 w 1086135"/>
                <a:gd name="connsiteY184" fmla="*/ 389472 h 968195"/>
                <a:gd name="connsiteX185" fmla="*/ 427872 w 1086135"/>
                <a:gd name="connsiteY185" fmla="*/ 315418 h 968195"/>
                <a:gd name="connsiteX186" fmla="*/ 449814 w 1086135"/>
                <a:gd name="connsiteY186" fmla="*/ 315418 h 968195"/>
                <a:gd name="connsiteX187" fmla="*/ 455300 w 1086135"/>
                <a:gd name="connsiteY187" fmla="*/ 326389 h 968195"/>
                <a:gd name="connsiteX188" fmla="*/ 449814 w 1086135"/>
                <a:gd name="connsiteY188" fmla="*/ 337360 h 968195"/>
                <a:gd name="connsiteX189" fmla="*/ 348331 w 1086135"/>
                <a:gd name="connsiteY189" fmla="*/ 436099 h 968195"/>
                <a:gd name="connsiteX190" fmla="*/ 348331 w 1086135"/>
                <a:gd name="connsiteY190" fmla="*/ 436099 h 968195"/>
                <a:gd name="connsiteX191" fmla="*/ 337360 w 1086135"/>
                <a:gd name="connsiteY191" fmla="*/ 438842 h 968195"/>
                <a:gd name="connsiteX192" fmla="*/ 326390 w 1086135"/>
                <a:gd name="connsiteY192" fmla="*/ 433357 h 968195"/>
                <a:gd name="connsiteX193" fmla="*/ 326390 w 1086135"/>
                <a:gd name="connsiteY193" fmla="*/ 433357 h 968195"/>
                <a:gd name="connsiteX194" fmla="*/ 290734 w 1086135"/>
                <a:gd name="connsiteY194" fmla="*/ 392215 h 968195"/>
                <a:gd name="connsiteX195" fmla="*/ 315418 w 1086135"/>
                <a:gd name="connsiteY195" fmla="*/ 370273 h 968195"/>
                <a:gd name="connsiteX196" fmla="*/ 326390 w 1086135"/>
                <a:gd name="connsiteY196" fmla="*/ 389472 h 968195"/>
                <a:gd name="connsiteX197" fmla="*/ 290734 w 1086135"/>
                <a:gd name="connsiteY197" fmla="*/ 348331 h 968195"/>
                <a:gd name="connsiteX198" fmla="*/ 266048 w 1086135"/>
                <a:gd name="connsiteY198" fmla="*/ 370273 h 968195"/>
                <a:gd name="connsiteX199" fmla="*/ 224907 w 1086135"/>
                <a:gd name="connsiteY199" fmla="*/ 323646 h 968195"/>
                <a:gd name="connsiteX200" fmla="*/ 227650 w 1086135"/>
                <a:gd name="connsiteY200" fmla="*/ 301704 h 968195"/>
                <a:gd name="connsiteX201" fmla="*/ 249592 w 1086135"/>
                <a:gd name="connsiteY201" fmla="*/ 304447 h 968195"/>
                <a:gd name="connsiteX202" fmla="*/ 290734 w 1086135"/>
                <a:gd name="connsiteY202" fmla="*/ 348331 h 968195"/>
                <a:gd name="connsiteX203" fmla="*/ 255077 w 1086135"/>
                <a:gd name="connsiteY203" fmla="*/ 134396 h 968195"/>
                <a:gd name="connsiteX204" fmla="*/ 208450 w 1086135"/>
                <a:gd name="connsiteY204" fmla="*/ 181022 h 968195"/>
                <a:gd name="connsiteX205" fmla="*/ 205708 w 1086135"/>
                <a:gd name="connsiteY205" fmla="*/ 181022 h 968195"/>
                <a:gd name="connsiteX206" fmla="*/ 205708 w 1086135"/>
                <a:gd name="connsiteY206" fmla="*/ 131653 h 968195"/>
                <a:gd name="connsiteX207" fmla="*/ 222164 w 1086135"/>
                <a:gd name="connsiteY207" fmla="*/ 115196 h 968195"/>
                <a:gd name="connsiteX208" fmla="*/ 257820 w 1086135"/>
                <a:gd name="connsiteY208" fmla="*/ 115196 h 968195"/>
                <a:gd name="connsiteX209" fmla="*/ 257820 w 1086135"/>
                <a:gd name="connsiteY209" fmla="*/ 134396 h 968195"/>
                <a:gd name="connsiteX210" fmla="*/ 222164 w 1086135"/>
                <a:gd name="connsiteY210" fmla="*/ 213936 h 968195"/>
                <a:gd name="connsiteX211" fmla="*/ 222164 w 1086135"/>
                <a:gd name="connsiteY211" fmla="*/ 230392 h 968195"/>
                <a:gd name="connsiteX212" fmla="*/ 205708 w 1086135"/>
                <a:gd name="connsiteY212" fmla="*/ 227649 h 968195"/>
                <a:gd name="connsiteX213" fmla="*/ 189251 w 1086135"/>
                <a:gd name="connsiteY213" fmla="*/ 230392 h 968195"/>
                <a:gd name="connsiteX214" fmla="*/ 189251 w 1086135"/>
                <a:gd name="connsiteY214" fmla="*/ 211193 h 968195"/>
                <a:gd name="connsiteX215" fmla="*/ 205708 w 1086135"/>
                <a:gd name="connsiteY215" fmla="*/ 213936 h 968195"/>
                <a:gd name="connsiteX216" fmla="*/ 222164 w 1086135"/>
                <a:gd name="connsiteY216" fmla="*/ 213936 h 968195"/>
                <a:gd name="connsiteX217" fmla="*/ 139881 w 1086135"/>
                <a:gd name="connsiteY217" fmla="*/ 145366 h 968195"/>
                <a:gd name="connsiteX218" fmla="*/ 139881 w 1086135"/>
                <a:gd name="connsiteY218" fmla="*/ 85026 h 968195"/>
                <a:gd name="connsiteX219" fmla="*/ 156338 w 1086135"/>
                <a:gd name="connsiteY219" fmla="*/ 46627 h 968195"/>
                <a:gd name="connsiteX220" fmla="*/ 194737 w 1086135"/>
                <a:gd name="connsiteY220" fmla="*/ 30171 h 968195"/>
                <a:gd name="connsiteX221" fmla="*/ 246849 w 1086135"/>
                <a:gd name="connsiteY221" fmla="*/ 30171 h 968195"/>
                <a:gd name="connsiteX222" fmla="*/ 293476 w 1086135"/>
                <a:gd name="connsiteY222" fmla="*/ 76797 h 968195"/>
                <a:gd name="connsiteX223" fmla="*/ 285248 w 1086135"/>
                <a:gd name="connsiteY223" fmla="*/ 85026 h 968195"/>
                <a:gd name="connsiteX224" fmla="*/ 222164 w 1086135"/>
                <a:gd name="connsiteY224" fmla="*/ 85026 h 968195"/>
                <a:gd name="connsiteX225" fmla="*/ 175537 w 1086135"/>
                <a:gd name="connsiteY225" fmla="*/ 131653 h 968195"/>
                <a:gd name="connsiteX226" fmla="*/ 175537 w 1086135"/>
                <a:gd name="connsiteY226" fmla="*/ 181022 h 968195"/>
                <a:gd name="connsiteX227" fmla="*/ 139881 w 1086135"/>
                <a:gd name="connsiteY227" fmla="*/ 145366 h 968195"/>
                <a:gd name="connsiteX228" fmla="*/ 159081 w 1086135"/>
                <a:gd name="connsiteY228" fmla="*/ 477241 h 968195"/>
                <a:gd name="connsiteX229" fmla="*/ 159081 w 1086135"/>
                <a:gd name="connsiteY229" fmla="*/ 309932 h 968195"/>
                <a:gd name="connsiteX230" fmla="*/ 205708 w 1086135"/>
                <a:gd name="connsiteY230" fmla="*/ 263305 h 968195"/>
                <a:gd name="connsiteX231" fmla="*/ 227650 w 1086135"/>
                <a:gd name="connsiteY231" fmla="*/ 268791 h 968195"/>
                <a:gd name="connsiteX232" fmla="*/ 208450 w 1086135"/>
                <a:gd name="connsiteY232" fmla="*/ 279762 h 968195"/>
                <a:gd name="connsiteX233" fmla="*/ 202965 w 1086135"/>
                <a:gd name="connsiteY233" fmla="*/ 345588 h 968195"/>
                <a:gd name="connsiteX234" fmla="*/ 202965 w 1086135"/>
                <a:gd name="connsiteY234" fmla="*/ 345588 h 968195"/>
                <a:gd name="connsiteX235" fmla="*/ 255077 w 1086135"/>
                <a:gd name="connsiteY235" fmla="*/ 408672 h 968195"/>
                <a:gd name="connsiteX236" fmla="*/ 255077 w 1086135"/>
                <a:gd name="connsiteY236" fmla="*/ 479983 h 968195"/>
                <a:gd name="connsiteX237" fmla="*/ 159081 w 1086135"/>
                <a:gd name="connsiteY237" fmla="*/ 479983 h 968195"/>
                <a:gd name="connsiteX238" fmla="*/ 200222 w 1086135"/>
                <a:gd name="connsiteY238" fmla="*/ 839285 h 968195"/>
                <a:gd name="connsiteX239" fmla="*/ 255077 w 1086135"/>
                <a:gd name="connsiteY239" fmla="*/ 839285 h 968195"/>
                <a:gd name="connsiteX240" fmla="*/ 282505 w 1086135"/>
                <a:gd name="connsiteY240" fmla="*/ 866713 h 968195"/>
                <a:gd name="connsiteX241" fmla="*/ 282505 w 1086135"/>
                <a:gd name="connsiteY241" fmla="*/ 874941 h 968195"/>
                <a:gd name="connsiteX242" fmla="*/ 200222 w 1086135"/>
                <a:gd name="connsiteY242" fmla="*/ 874941 h 968195"/>
                <a:gd name="connsiteX243" fmla="*/ 200222 w 1086135"/>
                <a:gd name="connsiteY243" fmla="*/ 839285 h 968195"/>
                <a:gd name="connsiteX244" fmla="*/ 1039509 w 1086135"/>
                <a:gd name="connsiteY244" fmla="*/ 940768 h 968195"/>
                <a:gd name="connsiteX245" fmla="*/ 46627 w 1086135"/>
                <a:gd name="connsiteY245" fmla="*/ 940768 h 968195"/>
                <a:gd name="connsiteX246" fmla="*/ 30171 w 1086135"/>
                <a:gd name="connsiteY246" fmla="*/ 924311 h 968195"/>
                <a:gd name="connsiteX247" fmla="*/ 46627 w 1086135"/>
                <a:gd name="connsiteY247" fmla="*/ 907854 h 968195"/>
                <a:gd name="connsiteX248" fmla="*/ 1039509 w 1086135"/>
                <a:gd name="connsiteY248" fmla="*/ 907854 h 968195"/>
                <a:gd name="connsiteX249" fmla="*/ 1055966 w 1086135"/>
                <a:gd name="connsiteY249" fmla="*/ 924311 h 968195"/>
                <a:gd name="connsiteX250" fmla="*/ 1039509 w 1086135"/>
                <a:gd name="connsiteY250" fmla="*/ 940768 h 9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6135" h="968195">
                  <a:moveTo>
                    <a:pt x="704891" y="315418"/>
                  </a:moveTo>
                  <a:lnTo>
                    <a:pt x="682949" y="293475"/>
                  </a:lnTo>
                  <a:cubicBezTo>
                    <a:pt x="663750" y="274276"/>
                    <a:pt x="633579" y="277019"/>
                    <a:pt x="614380" y="296218"/>
                  </a:cubicBezTo>
                  <a:cubicBezTo>
                    <a:pt x="606152" y="304447"/>
                    <a:pt x="600666" y="318161"/>
                    <a:pt x="600666" y="329131"/>
                  </a:cubicBezTo>
                  <a:cubicBezTo>
                    <a:pt x="600666" y="342845"/>
                    <a:pt x="606152" y="353817"/>
                    <a:pt x="614380" y="362045"/>
                  </a:cubicBezTo>
                  <a:lnTo>
                    <a:pt x="633579" y="381244"/>
                  </a:lnTo>
                  <a:lnTo>
                    <a:pt x="658265" y="403186"/>
                  </a:lnTo>
                  <a:lnTo>
                    <a:pt x="715862" y="458041"/>
                  </a:lnTo>
                  <a:cubicBezTo>
                    <a:pt x="724091" y="466270"/>
                    <a:pt x="735062" y="471755"/>
                    <a:pt x="748776" y="471755"/>
                  </a:cubicBezTo>
                  <a:cubicBezTo>
                    <a:pt x="748776" y="471755"/>
                    <a:pt x="751519" y="471755"/>
                    <a:pt x="751519" y="471755"/>
                  </a:cubicBezTo>
                  <a:cubicBezTo>
                    <a:pt x="765232" y="471755"/>
                    <a:pt x="776203" y="466270"/>
                    <a:pt x="784431" y="455299"/>
                  </a:cubicBezTo>
                  <a:lnTo>
                    <a:pt x="795403" y="441585"/>
                  </a:lnTo>
                  <a:lnTo>
                    <a:pt x="795403" y="490955"/>
                  </a:lnTo>
                  <a:cubicBezTo>
                    <a:pt x="795403" y="490955"/>
                    <a:pt x="795403" y="493697"/>
                    <a:pt x="795403" y="493697"/>
                  </a:cubicBezTo>
                  <a:lnTo>
                    <a:pt x="809117" y="562266"/>
                  </a:lnTo>
                  <a:cubicBezTo>
                    <a:pt x="814602" y="592437"/>
                    <a:pt x="817345" y="619864"/>
                    <a:pt x="817345" y="650035"/>
                  </a:cubicBezTo>
                  <a:lnTo>
                    <a:pt x="817345" y="806372"/>
                  </a:lnTo>
                  <a:cubicBezTo>
                    <a:pt x="789917" y="811858"/>
                    <a:pt x="767975" y="833800"/>
                    <a:pt x="767975" y="863970"/>
                  </a:cubicBezTo>
                  <a:lnTo>
                    <a:pt x="767975" y="872198"/>
                  </a:lnTo>
                  <a:lnTo>
                    <a:pt x="304447" y="872198"/>
                  </a:lnTo>
                  <a:lnTo>
                    <a:pt x="304447" y="863970"/>
                  </a:lnTo>
                  <a:cubicBezTo>
                    <a:pt x="304447" y="833800"/>
                    <a:pt x="282505" y="811858"/>
                    <a:pt x="255077" y="806372"/>
                  </a:cubicBezTo>
                  <a:lnTo>
                    <a:pt x="255077" y="650035"/>
                  </a:lnTo>
                  <a:cubicBezTo>
                    <a:pt x="255077" y="619864"/>
                    <a:pt x="257820" y="589694"/>
                    <a:pt x="263306" y="562266"/>
                  </a:cubicBezTo>
                  <a:lnTo>
                    <a:pt x="277020" y="493697"/>
                  </a:lnTo>
                  <a:cubicBezTo>
                    <a:pt x="277020" y="493697"/>
                    <a:pt x="277020" y="490955"/>
                    <a:pt x="277020" y="490955"/>
                  </a:cubicBezTo>
                  <a:lnTo>
                    <a:pt x="277020" y="441585"/>
                  </a:lnTo>
                  <a:lnTo>
                    <a:pt x="287991" y="455299"/>
                  </a:lnTo>
                  <a:cubicBezTo>
                    <a:pt x="296219" y="466270"/>
                    <a:pt x="309933" y="471755"/>
                    <a:pt x="320904" y="471755"/>
                  </a:cubicBezTo>
                  <a:cubicBezTo>
                    <a:pt x="320904" y="471755"/>
                    <a:pt x="323647" y="471755"/>
                    <a:pt x="323647" y="471755"/>
                  </a:cubicBezTo>
                  <a:cubicBezTo>
                    <a:pt x="337360" y="471755"/>
                    <a:pt x="348331" y="466270"/>
                    <a:pt x="356560" y="458041"/>
                  </a:cubicBezTo>
                  <a:lnTo>
                    <a:pt x="414158" y="403186"/>
                  </a:lnTo>
                  <a:lnTo>
                    <a:pt x="438843" y="381244"/>
                  </a:lnTo>
                  <a:lnTo>
                    <a:pt x="458042" y="362045"/>
                  </a:lnTo>
                  <a:cubicBezTo>
                    <a:pt x="466270" y="353817"/>
                    <a:pt x="471756" y="340103"/>
                    <a:pt x="471756" y="329131"/>
                  </a:cubicBezTo>
                  <a:cubicBezTo>
                    <a:pt x="471756" y="315418"/>
                    <a:pt x="466270" y="304447"/>
                    <a:pt x="458042" y="296218"/>
                  </a:cubicBezTo>
                  <a:cubicBezTo>
                    <a:pt x="438843" y="277019"/>
                    <a:pt x="408673" y="277019"/>
                    <a:pt x="389473" y="293475"/>
                  </a:cubicBezTo>
                  <a:lnTo>
                    <a:pt x="367531" y="315418"/>
                  </a:lnTo>
                  <a:lnTo>
                    <a:pt x="345589" y="337360"/>
                  </a:lnTo>
                  <a:lnTo>
                    <a:pt x="326390" y="356559"/>
                  </a:lnTo>
                  <a:lnTo>
                    <a:pt x="274277" y="293475"/>
                  </a:lnTo>
                  <a:cubicBezTo>
                    <a:pt x="271534" y="277019"/>
                    <a:pt x="263306" y="263305"/>
                    <a:pt x="252335" y="252334"/>
                  </a:cubicBezTo>
                  <a:cubicBezTo>
                    <a:pt x="249592" y="249592"/>
                    <a:pt x="246849" y="246849"/>
                    <a:pt x="244107" y="244106"/>
                  </a:cubicBezTo>
                  <a:lnTo>
                    <a:pt x="244107" y="200222"/>
                  </a:lnTo>
                  <a:cubicBezTo>
                    <a:pt x="263306" y="186508"/>
                    <a:pt x="277020" y="161823"/>
                    <a:pt x="277020" y="137138"/>
                  </a:cubicBezTo>
                  <a:lnTo>
                    <a:pt x="277020" y="117939"/>
                  </a:lnTo>
                  <a:cubicBezTo>
                    <a:pt x="296219" y="115196"/>
                    <a:pt x="312676" y="98740"/>
                    <a:pt x="312676" y="76797"/>
                  </a:cubicBezTo>
                  <a:cubicBezTo>
                    <a:pt x="312676" y="32913"/>
                    <a:pt x="277020" y="0"/>
                    <a:pt x="235878" y="0"/>
                  </a:cubicBezTo>
                  <a:lnTo>
                    <a:pt x="183765" y="0"/>
                  </a:lnTo>
                  <a:cubicBezTo>
                    <a:pt x="161824" y="0"/>
                    <a:pt x="139881" y="8228"/>
                    <a:pt x="123425" y="24685"/>
                  </a:cubicBezTo>
                  <a:cubicBezTo>
                    <a:pt x="106968" y="41141"/>
                    <a:pt x="98740" y="63084"/>
                    <a:pt x="98740" y="85026"/>
                  </a:cubicBezTo>
                  <a:lnTo>
                    <a:pt x="98740" y="145366"/>
                  </a:lnTo>
                  <a:cubicBezTo>
                    <a:pt x="98740" y="178280"/>
                    <a:pt x="120682" y="202965"/>
                    <a:pt x="150852" y="211193"/>
                  </a:cubicBezTo>
                  <a:lnTo>
                    <a:pt x="150852" y="244106"/>
                  </a:lnTo>
                  <a:cubicBezTo>
                    <a:pt x="131653" y="257820"/>
                    <a:pt x="120682" y="282505"/>
                    <a:pt x="120682" y="307189"/>
                  </a:cubicBezTo>
                  <a:lnTo>
                    <a:pt x="120682" y="496440"/>
                  </a:lnTo>
                  <a:cubicBezTo>
                    <a:pt x="120682" y="521125"/>
                    <a:pt x="128910" y="543067"/>
                    <a:pt x="145367" y="559524"/>
                  </a:cubicBezTo>
                  <a:cubicBezTo>
                    <a:pt x="150852" y="565009"/>
                    <a:pt x="153595" y="573238"/>
                    <a:pt x="156338" y="581466"/>
                  </a:cubicBezTo>
                  <a:cubicBezTo>
                    <a:pt x="159081" y="589694"/>
                    <a:pt x="159081" y="597922"/>
                    <a:pt x="159081" y="606151"/>
                  </a:cubicBezTo>
                  <a:lnTo>
                    <a:pt x="159081" y="685691"/>
                  </a:lnTo>
                  <a:cubicBezTo>
                    <a:pt x="159081" y="693919"/>
                    <a:pt x="167309" y="702147"/>
                    <a:pt x="175537" y="702147"/>
                  </a:cubicBezTo>
                  <a:cubicBezTo>
                    <a:pt x="183765" y="702147"/>
                    <a:pt x="191994" y="693919"/>
                    <a:pt x="191994" y="685691"/>
                  </a:cubicBezTo>
                  <a:lnTo>
                    <a:pt x="191994" y="606151"/>
                  </a:lnTo>
                  <a:cubicBezTo>
                    <a:pt x="191994" y="595179"/>
                    <a:pt x="189251" y="584208"/>
                    <a:pt x="186508" y="573238"/>
                  </a:cubicBezTo>
                  <a:cubicBezTo>
                    <a:pt x="183765" y="562266"/>
                    <a:pt x="175537" y="551295"/>
                    <a:pt x="170051" y="543067"/>
                  </a:cubicBezTo>
                  <a:cubicBezTo>
                    <a:pt x="161824" y="532096"/>
                    <a:pt x="156338" y="521125"/>
                    <a:pt x="153595" y="507411"/>
                  </a:cubicBezTo>
                  <a:lnTo>
                    <a:pt x="244107" y="507411"/>
                  </a:lnTo>
                  <a:lnTo>
                    <a:pt x="233135" y="556781"/>
                  </a:lnTo>
                  <a:cubicBezTo>
                    <a:pt x="227650" y="586951"/>
                    <a:pt x="222164" y="619864"/>
                    <a:pt x="222164" y="652778"/>
                  </a:cubicBezTo>
                  <a:lnTo>
                    <a:pt x="222164" y="809115"/>
                  </a:lnTo>
                  <a:lnTo>
                    <a:pt x="200222" y="809115"/>
                  </a:lnTo>
                  <a:lnTo>
                    <a:pt x="200222" y="757003"/>
                  </a:lnTo>
                  <a:cubicBezTo>
                    <a:pt x="200222" y="748774"/>
                    <a:pt x="191994" y="740546"/>
                    <a:pt x="183765" y="740546"/>
                  </a:cubicBezTo>
                  <a:cubicBezTo>
                    <a:pt x="175537" y="740546"/>
                    <a:pt x="167309" y="748774"/>
                    <a:pt x="167309" y="757003"/>
                  </a:cubicBezTo>
                  <a:lnTo>
                    <a:pt x="167309" y="874941"/>
                  </a:lnTo>
                  <a:lnTo>
                    <a:pt x="46627" y="874941"/>
                  </a:lnTo>
                  <a:cubicBezTo>
                    <a:pt x="19199" y="874941"/>
                    <a:pt x="0" y="896883"/>
                    <a:pt x="0" y="921568"/>
                  </a:cubicBezTo>
                  <a:cubicBezTo>
                    <a:pt x="0" y="946253"/>
                    <a:pt x="21942" y="968195"/>
                    <a:pt x="46627" y="968195"/>
                  </a:cubicBezTo>
                  <a:lnTo>
                    <a:pt x="1039509" y="968195"/>
                  </a:lnTo>
                  <a:cubicBezTo>
                    <a:pt x="1066937" y="968195"/>
                    <a:pt x="1086136" y="946253"/>
                    <a:pt x="1086136" y="921568"/>
                  </a:cubicBezTo>
                  <a:cubicBezTo>
                    <a:pt x="1086136" y="896883"/>
                    <a:pt x="1064194" y="874941"/>
                    <a:pt x="1039509" y="874941"/>
                  </a:cubicBezTo>
                  <a:lnTo>
                    <a:pt x="918828" y="874941"/>
                  </a:lnTo>
                  <a:lnTo>
                    <a:pt x="918828" y="606151"/>
                  </a:lnTo>
                  <a:cubicBezTo>
                    <a:pt x="918828" y="597922"/>
                    <a:pt x="921570" y="589694"/>
                    <a:pt x="921570" y="581466"/>
                  </a:cubicBezTo>
                  <a:cubicBezTo>
                    <a:pt x="924313" y="573238"/>
                    <a:pt x="927055" y="567752"/>
                    <a:pt x="932541" y="559524"/>
                  </a:cubicBezTo>
                  <a:cubicBezTo>
                    <a:pt x="946255" y="540324"/>
                    <a:pt x="957226" y="518382"/>
                    <a:pt x="957226" y="496440"/>
                  </a:cubicBezTo>
                  <a:lnTo>
                    <a:pt x="957226" y="414157"/>
                  </a:lnTo>
                  <a:cubicBezTo>
                    <a:pt x="957226" y="405929"/>
                    <a:pt x="948997" y="397701"/>
                    <a:pt x="940769" y="397701"/>
                  </a:cubicBezTo>
                  <a:cubicBezTo>
                    <a:pt x="932541" y="397701"/>
                    <a:pt x="924313" y="405929"/>
                    <a:pt x="924313" y="414157"/>
                  </a:cubicBezTo>
                  <a:lnTo>
                    <a:pt x="924313" y="474498"/>
                  </a:lnTo>
                  <a:lnTo>
                    <a:pt x="831059" y="474498"/>
                  </a:lnTo>
                  <a:lnTo>
                    <a:pt x="831059" y="403186"/>
                  </a:lnTo>
                  <a:lnTo>
                    <a:pt x="880428" y="345588"/>
                  </a:lnTo>
                  <a:cubicBezTo>
                    <a:pt x="883171" y="342845"/>
                    <a:pt x="883171" y="342845"/>
                    <a:pt x="885914" y="340103"/>
                  </a:cubicBezTo>
                  <a:lnTo>
                    <a:pt x="885914" y="340103"/>
                  </a:lnTo>
                  <a:cubicBezTo>
                    <a:pt x="905114" y="315418"/>
                    <a:pt x="896885" y="287990"/>
                    <a:pt x="880428" y="274276"/>
                  </a:cubicBezTo>
                  <a:cubicBezTo>
                    <a:pt x="874943" y="268791"/>
                    <a:pt x="866714" y="266048"/>
                    <a:pt x="861229" y="263305"/>
                  </a:cubicBezTo>
                  <a:cubicBezTo>
                    <a:pt x="866714" y="260562"/>
                    <a:pt x="874943" y="257820"/>
                    <a:pt x="883171" y="257820"/>
                  </a:cubicBezTo>
                  <a:cubicBezTo>
                    <a:pt x="910599" y="257820"/>
                    <a:pt x="929798" y="279762"/>
                    <a:pt x="929798" y="304447"/>
                  </a:cubicBezTo>
                  <a:lnTo>
                    <a:pt x="929798" y="345588"/>
                  </a:lnTo>
                  <a:cubicBezTo>
                    <a:pt x="929798" y="353817"/>
                    <a:pt x="938026" y="362045"/>
                    <a:pt x="946255" y="362045"/>
                  </a:cubicBezTo>
                  <a:cubicBezTo>
                    <a:pt x="954483" y="362045"/>
                    <a:pt x="962711" y="353817"/>
                    <a:pt x="962711" y="345588"/>
                  </a:cubicBezTo>
                  <a:lnTo>
                    <a:pt x="962711" y="309932"/>
                  </a:lnTo>
                  <a:cubicBezTo>
                    <a:pt x="962711" y="285248"/>
                    <a:pt x="951740" y="260562"/>
                    <a:pt x="932541" y="246849"/>
                  </a:cubicBezTo>
                  <a:lnTo>
                    <a:pt x="932541" y="200222"/>
                  </a:lnTo>
                  <a:cubicBezTo>
                    <a:pt x="940769" y="194736"/>
                    <a:pt x="946255" y="189251"/>
                    <a:pt x="951740" y="181022"/>
                  </a:cubicBezTo>
                  <a:cubicBezTo>
                    <a:pt x="970940" y="175537"/>
                    <a:pt x="984654" y="156337"/>
                    <a:pt x="984654" y="134396"/>
                  </a:cubicBezTo>
                  <a:lnTo>
                    <a:pt x="984654" y="63084"/>
                  </a:lnTo>
                  <a:cubicBezTo>
                    <a:pt x="984654" y="46627"/>
                    <a:pt x="979168" y="30171"/>
                    <a:pt x="965454" y="19199"/>
                  </a:cubicBezTo>
                  <a:cubicBezTo>
                    <a:pt x="954483" y="8228"/>
                    <a:pt x="938026" y="0"/>
                    <a:pt x="921570" y="0"/>
                  </a:cubicBezTo>
                  <a:lnTo>
                    <a:pt x="800888" y="0"/>
                  </a:lnTo>
                  <a:cubicBezTo>
                    <a:pt x="784431" y="0"/>
                    <a:pt x="767975" y="13714"/>
                    <a:pt x="767975" y="32913"/>
                  </a:cubicBezTo>
                  <a:cubicBezTo>
                    <a:pt x="767975" y="60341"/>
                    <a:pt x="781689" y="87768"/>
                    <a:pt x="803631" y="101482"/>
                  </a:cubicBezTo>
                  <a:lnTo>
                    <a:pt x="803631" y="134396"/>
                  </a:lnTo>
                  <a:cubicBezTo>
                    <a:pt x="803631" y="161823"/>
                    <a:pt x="817345" y="183765"/>
                    <a:pt x="836544" y="197479"/>
                  </a:cubicBezTo>
                  <a:lnTo>
                    <a:pt x="836544" y="244106"/>
                  </a:lnTo>
                  <a:cubicBezTo>
                    <a:pt x="833802" y="246849"/>
                    <a:pt x="831059" y="249592"/>
                    <a:pt x="828316" y="252334"/>
                  </a:cubicBezTo>
                  <a:cubicBezTo>
                    <a:pt x="817345" y="263305"/>
                    <a:pt x="809117" y="277019"/>
                    <a:pt x="806374" y="293475"/>
                  </a:cubicBezTo>
                  <a:lnTo>
                    <a:pt x="754261" y="356559"/>
                  </a:lnTo>
                  <a:lnTo>
                    <a:pt x="735062" y="337360"/>
                  </a:lnTo>
                  <a:moveTo>
                    <a:pt x="927055" y="507411"/>
                  </a:moveTo>
                  <a:cubicBezTo>
                    <a:pt x="924313" y="521125"/>
                    <a:pt x="918828" y="532096"/>
                    <a:pt x="910599" y="543067"/>
                  </a:cubicBezTo>
                  <a:cubicBezTo>
                    <a:pt x="902371" y="551295"/>
                    <a:pt x="896885" y="562266"/>
                    <a:pt x="894142" y="573238"/>
                  </a:cubicBezTo>
                  <a:cubicBezTo>
                    <a:pt x="891400" y="584208"/>
                    <a:pt x="888657" y="595179"/>
                    <a:pt x="888657" y="606151"/>
                  </a:cubicBezTo>
                  <a:lnTo>
                    <a:pt x="888657" y="806372"/>
                  </a:lnTo>
                  <a:lnTo>
                    <a:pt x="855743" y="806372"/>
                  </a:lnTo>
                  <a:lnTo>
                    <a:pt x="855743" y="650035"/>
                  </a:lnTo>
                  <a:cubicBezTo>
                    <a:pt x="855743" y="617122"/>
                    <a:pt x="853000" y="586951"/>
                    <a:pt x="844772" y="554038"/>
                  </a:cubicBezTo>
                  <a:lnTo>
                    <a:pt x="833802" y="504669"/>
                  </a:lnTo>
                  <a:lnTo>
                    <a:pt x="927055" y="504669"/>
                  </a:lnTo>
                  <a:close/>
                  <a:moveTo>
                    <a:pt x="896885" y="230392"/>
                  </a:moveTo>
                  <a:cubicBezTo>
                    <a:pt x="891400" y="230392"/>
                    <a:pt x="885914" y="227649"/>
                    <a:pt x="880428" y="227649"/>
                  </a:cubicBezTo>
                  <a:cubicBezTo>
                    <a:pt x="874943" y="227649"/>
                    <a:pt x="869457" y="227649"/>
                    <a:pt x="863972" y="230392"/>
                  </a:cubicBezTo>
                  <a:lnTo>
                    <a:pt x="863972" y="213936"/>
                  </a:lnTo>
                  <a:cubicBezTo>
                    <a:pt x="869457" y="213936"/>
                    <a:pt x="874943" y="216678"/>
                    <a:pt x="880428" y="216678"/>
                  </a:cubicBezTo>
                  <a:cubicBezTo>
                    <a:pt x="885914" y="216678"/>
                    <a:pt x="891400" y="216678"/>
                    <a:pt x="896885" y="213936"/>
                  </a:cubicBezTo>
                  <a:lnTo>
                    <a:pt x="896885" y="230392"/>
                  </a:lnTo>
                  <a:close/>
                  <a:moveTo>
                    <a:pt x="795403" y="32913"/>
                  </a:moveTo>
                  <a:lnTo>
                    <a:pt x="916085" y="32913"/>
                  </a:lnTo>
                  <a:cubicBezTo>
                    <a:pt x="924313" y="32913"/>
                    <a:pt x="932541" y="35656"/>
                    <a:pt x="938026" y="41141"/>
                  </a:cubicBezTo>
                  <a:cubicBezTo>
                    <a:pt x="943512" y="46627"/>
                    <a:pt x="946255" y="54855"/>
                    <a:pt x="946255" y="63084"/>
                  </a:cubicBezTo>
                  <a:lnTo>
                    <a:pt x="946255" y="134396"/>
                  </a:lnTo>
                  <a:cubicBezTo>
                    <a:pt x="946255" y="142624"/>
                    <a:pt x="938026" y="150852"/>
                    <a:pt x="929798" y="150852"/>
                  </a:cubicBezTo>
                  <a:cubicBezTo>
                    <a:pt x="921570" y="150852"/>
                    <a:pt x="913342" y="142624"/>
                    <a:pt x="913342" y="134396"/>
                  </a:cubicBezTo>
                  <a:cubicBezTo>
                    <a:pt x="913342" y="109710"/>
                    <a:pt x="891400" y="87768"/>
                    <a:pt x="866714" y="87768"/>
                  </a:cubicBezTo>
                  <a:lnTo>
                    <a:pt x="850258" y="87768"/>
                  </a:lnTo>
                  <a:cubicBezTo>
                    <a:pt x="820088" y="85026"/>
                    <a:pt x="795403" y="63084"/>
                    <a:pt x="795403" y="32913"/>
                  </a:cubicBezTo>
                  <a:close/>
                  <a:moveTo>
                    <a:pt x="831059" y="134396"/>
                  </a:moveTo>
                  <a:lnTo>
                    <a:pt x="831059" y="115196"/>
                  </a:lnTo>
                  <a:cubicBezTo>
                    <a:pt x="836544" y="117939"/>
                    <a:pt x="844772" y="117939"/>
                    <a:pt x="850258" y="117939"/>
                  </a:cubicBezTo>
                  <a:lnTo>
                    <a:pt x="866714" y="117939"/>
                  </a:lnTo>
                  <a:cubicBezTo>
                    <a:pt x="874943" y="117939"/>
                    <a:pt x="880428" y="123424"/>
                    <a:pt x="880428" y="131653"/>
                  </a:cubicBezTo>
                  <a:cubicBezTo>
                    <a:pt x="880428" y="148109"/>
                    <a:pt x="888657" y="164566"/>
                    <a:pt x="905114" y="172794"/>
                  </a:cubicBezTo>
                  <a:cubicBezTo>
                    <a:pt x="896885" y="178280"/>
                    <a:pt x="888657" y="181022"/>
                    <a:pt x="877686" y="181022"/>
                  </a:cubicBezTo>
                  <a:cubicBezTo>
                    <a:pt x="853000" y="183765"/>
                    <a:pt x="831059" y="161823"/>
                    <a:pt x="831059" y="134396"/>
                  </a:cubicBezTo>
                  <a:close/>
                  <a:moveTo>
                    <a:pt x="765232" y="436099"/>
                  </a:moveTo>
                  <a:cubicBezTo>
                    <a:pt x="762489" y="436099"/>
                    <a:pt x="762489" y="436099"/>
                    <a:pt x="765232" y="436099"/>
                  </a:cubicBezTo>
                  <a:cubicBezTo>
                    <a:pt x="762489" y="438842"/>
                    <a:pt x="757004" y="441585"/>
                    <a:pt x="754261" y="441585"/>
                  </a:cubicBezTo>
                  <a:cubicBezTo>
                    <a:pt x="748776" y="441585"/>
                    <a:pt x="746033" y="441585"/>
                    <a:pt x="743290" y="438842"/>
                  </a:cubicBezTo>
                  <a:cubicBezTo>
                    <a:pt x="743290" y="438842"/>
                    <a:pt x="743290" y="438842"/>
                    <a:pt x="743290" y="438842"/>
                  </a:cubicBezTo>
                  <a:lnTo>
                    <a:pt x="641808" y="340103"/>
                  </a:lnTo>
                  <a:cubicBezTo>
                    <a:pt x="639065" y="337360"/>
                    <a:pt x="636322" y="331874"/>
                    <a:pt x="636322" y="329131"/>
                  </a:cubicBezTo>
                  <a:cubicBezTo>
                    <a:pt x="636322" y="323646"/>
                    <a:pt x="639065" y="320903"/>
                    <a:pt x="641808" y="318161"/>
                  </a:cubicBezTo>
                  <a:cubicBezTo>
                    <a:pt x="647293" y="312675"/>
                    <a:pt x="658265" y="312675"/>
                    <a:pt x="663750" y="318161"/>
                  </a:cubicBezTo>
                  <a:lnTo>
                    <a:pt x="743290" y="392215"/>
                  </a:lnTo>
                  <a:cubicBezTo>
                    <a:pt x="746033" y="394958"/>
                    <a:pt x="751519" y="397701"/>
                    <a:pt x="754261" y="397701"/>
                  </a:cubicBezTo>
                  <a:cubicBezTo>
                    <a:pt x="759746" y="397701"/>
                    <a:pt x="762489" y="394958"/>
                    <a:pt x="765232" y="392215"/>
                  </a:cubicBezTo>
                  <a:lnTo>
                    <a:pt x="778946" y="375758"/>
                  </a:lnTo>
                  <a:cubicBezTo>
                    <a:pt x="787174" y="381244"/>
                    <a:pt x="792660" y="389472"/>
                    <a:pt x="803631" y="397701"/>
                  </a:cubicBezTo>
                  <a:cubicBezTo>
                    <a:pt x="778946" y="416900"/>
                    <a:pt x="765232" y="436099"/>
                    <a:pt x="765232" y="436099"/>
                  </a:cubicBezTo>
                  <a:close/>
                  <a:moveTo>
                    <a:pt x="820088" y="370273"/>
                  </a:moveTo>
                  <a:cubicBezTo>
                    <a:pt x="811859" y="362045"/>
                    <a:pt x="803631" y="353817"/>
                    <a:pt x="795403" y="348331"/>
                  </a:cubicBezTo>
                  <a:lnTo>
                    <a:pt x="833802" y="301704"/>
                  </a:lnTo>
                  <a:cubicBezTo>
                    <a:pt x="844772" y="290733"/>
                    <a:pt x="855743" y="298961"/>
                    <a:pt x="855743" y="298961"/>
                  </a:cubicBezTo>
                  <a:cubicBezTo>
                    <a:pt x="858486" y="301704"/>
                    <a:pt x="866714" y="309932"/>
                    <a:pt x="858486" y="320903"/>
                  </a:cubicBezTo>
                  <a:cubicBezTo>
                    <a:pt x="858486" y="326389"/>
                    <a:pt x="839287" y="345588"/>
                    <a:pt x="820088" y="370273"/>
                  </a:cubicBezTo>
                  <a:close/>
                  <a:moveTo>
                    <a:pt x="806374" y="866713"/>
                  </a:moveTo>
                  <a:cubicBezTo>
                    <a:pt x="806374" y="852999"/>
                    <a:pt x="817345" y="839285"/>
                    <a:pt x="833802" y="839285"/>
                  </a:cubicBezTo>
                  <a:lnTo>
                    <a:pt x="888657" y="839285"/>
                  </a:lnTo>
                  <a:lnTo>
                    <a:pt x="888657" y="874941"/>
                  </a:lnTo>
                  <a:lnTo>
                    <a:pt x="809117" y="874941"/>
                  </a:lnTo>
                  <a:lnTo>
                    <a:pt x="809117" y="866713"/>
                  </a:lnTo>
                  <a:close/>
                  <a:moveTo>
                    <a:pt x="326390" y="389472"/>
                  </a:moveTo>
                  <a:cubicBezTo>
                    <a:pt x="329132" y="392215"/>
                    <a:pt x="334618" y="394958"/>
                    <a:pt x="337360" y="394958"/>
                  </a:cubicBezTo>
                  <a:cubicBezTo>
                    <a:pt x="342846" y="394958"/>
                    <a:pt x="345589" y="394958"/>
                    <a:pt x="348331" y="389472"/>
                  </a:cubicBezTo>
                  <a:lnTo>
                    <a:pt x="427872" y="315418"/>
                  </a:lnTo>
                  <a:cubicBezTo>
                    <a:pt x="433357" y="309932"/>
                    <a:pt x="444328" y="309932"/>
                    <a:pt x="449814" y="315418"/>
                  </a:cubicBezTo>
                  <a:cubicBezTo>
                    <a:pt x="452557" y="318161"/>
                    <a:pt x="455300" y="323646"/>
                    <a:pt x="455300" y="326389"/>
                  </a:cubicBezTo>
                  <a:cubicBezTo>
                    <a:pt x="455300" y="331874"/>
                    <a:pt x="452557" y="334617"/>
                    <a:pt x="449814" y="337360"/>
                  </a:cubicBezTo>
                  <a:lnTo>
                    <a:pt x="348331" y="436099"/>
                  </a:lnTo>
                  <a:cubicBezTo>
                    <a:pt x="348331" y="436099"/>
                    <a:pt x="348331" y="436099"/>
                    <a:pt x="348331" y="436099"/>
                  </a:cubicBezTo>
                  <a:cubicBezTo>
                    <a:pt x="345589" y="438842"/>
                    <a:pt x="340103" y="441585"/>
                    <a:pt x="337360" y="438842"/>
                  </a:cubicBezTo>
                  <a:cubicBezTo>
                    <a:pt x="331875" y="438842"/>
                    <a:pt x="329132" y="436099"/>
                    <a:pt x="326390" y="433357"/>
                  </a:cubicBezTo>
                  <a:cubicBezTo>
                    <a:pt x="326390" y="433357"/>
                    <a:pt x="326390" y="433357"/>
                    <a:pt x="326390" y="433357"/>
                  </a:cubicBezTo>
                  <a:lnTo>
                    <a:pt x="290734" y="392215"/>
                  </a:lnTo>
                  <a:cubicBezTo>
                    <a:pt x="298962" y="383987"/>
                    <a:pt x="307190" y="375758"/>
                    <a:pt x="315418" y="370273"/>
                  </a:cubicBezTo>
                  <a:lnTo>
                    <a:pt x="326390" y="389472"/>
                  </a:lnTo>
                  <a:close/>
                  <a:moveTo>
                    <a:pt x="290734" y="348331"/>
                  </a:moveTo>
                  <a:cubicBezTo>
                    <a:pt x="282505" y="353817"/>
                    <a:pt x="277020" y="362045"/>
                    <a:pt x="266048" y="370273"/>
                  </a:cubicBezTo>
                  <a:lnTo>
                    <a:pt x="224907" y="323646"/>
                  </a:lnTo>
                  <a:cubicBezTo>
                    <a:pt x="216679" y="312675"/>
                    <a:pt x="224907" y="301704"/>
                    <a:pt x="227650" y="301704"/>
                  </a:cubicBezTo>
                  <a:cubicBezTo>
                    <a:pt x="230393" y="298961"/>
                    <a:pt x="238621" y="293475"/>
                    <a:pt x="249592" y="304447"/>
                  </a:cubicBezTo>
                  <a:lnTo>
                    <a:pt x="290734" y="348331"/>
                  </a:lnTo>
                  <a:close/>
                  <a:moveTo>
                    <a:pt x="255077" y="134396"/>
                  </a:moveTo>
                  <a:cubicBezTo>
                    <a:pt x="255077" y="161823"/>
                    <a:pt x="233135" y="181022"/>
                    <a:pt x="208450" y="181022"/>
                  </a:cubicBezTo>
                  <a:cubicBezTo>
                    <a:pt x="208450" y="181022"/>
                    <a:pt x="205708" y="181022"/>
                    <a:pt x="205708" y="181022"/>
                  </a:cubicBezTo>
                  <a:lnTo>
                    <a:pt x="205708" y="131653"/>
                  </a:lnTo>
                  <a:cubicBezTo>
                    <a:pt x="205708" y="123424"/>
                    <a:pt x="211193" y="115196"/>
                    <a:pt x="222164" y="115196"/>
                  </a:cubicBezTo>
                  <a:lnTo>
                    <a:pt x="257820" y="115196"/>
                  </a:lnTo>
                  <a:lnTo>
                    <a:pt x="257820" y="134396"/>
                  </a:lnTo>
                  <a:close/>
                  <a:moveTo>
                    <a:pt x="222164" y="213936"/>
                  </a:moveTo>
                  <a:lnTo>
                    <a:pt x="222164" y="230392"/>
                  </a:lnTo>
                  <a:cubicBezTo>
                    <a:pt x="216679" y="230392"/>
                    <a:pt x="211193" y="227649"/>
                    <a:pt x="205708" y="227649"/>
                  </a:cubicBezTo>
                  <a:cubicBezTo>
                    <a:pt x="200222" y="227649"/>
                    <a:pt x="194737" y="227649"/>
                    <a:pt x="189251" y="230392"/>
                  </a:cubicBezTo>
                  <a:lnTo>
                    <a:pt x="189251" y="211193"/>
                  </a:lnTo>
                  <a:cubicBezTo>
                    <a:pt x="194737" y="211193"/>
                    <a:pt x="200222" y="213936"/>
                    <a:pt x="205708" y="213936"/>
                  </a:cubicBezTo>
                  <a:cubicBezTo>
                    <a:pt x="213936" y="213936"/>
                    <a:pt x="216679" y="213936"/>
                    <a:pt x="222164" y="213936"/>
                  </a:cubicBezTo>
                  <a:close/>
                  <a:moveTo>
                    <a:pt x="139881" y="145366"/>
                  </a:moveTo>
                  <a:lnTo>
                    <a:pt x="139881" y="85026"/>
                  </a:lnTo>
                  <a:cubicBezTo>
                    <a:pt x="139881" y="71312"/>
                    <a:pt x="145367" y="57598"/>
                    <a:pt x="156338" y="46627"/>
                  </a:cubicBezTo>
                  <a:cubicBezTo>
                    <a:pt x="167309" y="35656"/>
                    <a:pt x="181023" y="30171"/>
                    <a:pt x="194737" y="30171"/>
                  </a:cubicBezTo>
                  <a:lnTo>
                    <a:pt x="246849" y="30171"/>
                  </a:lnTo>
                  <a:cubicBezTo>
                    <a:pt x="271534" y="30171"/>
                    <a:pt x="293476" y="49370"/>
                    <a:pt x="293476" y="76797"/>
                  </a:cubicBezTo>
                  <a:cubicBezTo>
                    <a:pt x="293476" y="82283"/>
                    <a:pt x="290734" y="85026"/>
                    <a:pt x="285248" y="85026"/>
                  </a:cubicBezTo>
                  <a:lnTo>
                    <a:pt x="222164" y="85026"/>
                  </a:lnTo>
                  <a:cubicBezTo>
                    <a:pt x="197479" y="85026"/>
                    <a:pt x="175537" y="106968"/>
                    <a:pt x="175537" y="131653"/>
                  </a:cubicBezTo>
                  <a:lnTo>
                    <a:pt x="175537" y="181022"/>
                  </a:lnTo>
                  <a:cubicBezTo>
                    <a:pt x="153595" y="181022"/>
                    <a:pt x="139881" y="164566"/>
                    <a:pt x="139881" y="145366"/>
                  </a:cubicBezTo>
                  <a:close/>
                  <a:moveTo>
                    <a:pt x="159081" y="477241"/>
                  </a:moveTo>
                  <a:lnTo>
                    <a:pt x="159081" y="309932"/>
                  </a:lnTo>
                  <a:cubicBezTo>
                    <a:pt x="159081" y="282505"/>
                    <a:pt x="181023" y="263305"/>
                    <a:pt x="205708" y="263305"/>
                  </a:cubicBezTo>
                  <a:cubicBezTo>
                    <a:pt x="213936" y="263305"/>
                    <a:pt x="219421" y="266048"/>
                    <a:pt x="227650" y="268791"/>
                  </a:cubicBezTo>
                  <a:cubicBezTo>
                    <a:pt x="219421" y="271534"/>
                    <a:pt x="213936" y="274276"/>
                    <a:pt x="208450" y="279762"/>
                  </a:cubicBezTo>
                  <a:cubicBezTo>
                    <a:pt x="191994" y="293475"/>
                    <a:pt x="183765" y="320903"/>
                    <a:pt x="202965" y="345588"/>
                  </a:cubicBezTo>
                  <a:cubicBezTo>
                    <a:pt x="202965" y="345588"/>
                    <a:pt x="202965" y="345588"/>
                    <a:pt x="202965" y="345588"/>
                  </a:cubicBezTo>
                  <a:lnTo>
                    <a:pt x="255077" y="408672"/>
                  </a:lnTo>
                  <a:lnTo>
                    <a:pt x="255077" y="479983"/>
                  </a:lnTo>
                  <a:lnTo>
                    <a:pt x="159081" y="479983"/>
                  </a:lnTo>
                  <a:close/>
                  <a:moveTo>
                    <a:pt x="200222" y="839285"/>
                  </a:moveTo>
                  <a:lnTo>
                    <a:pt x="255077" y="839285"/>
                  </a:lnTo>
                  <a:cubicBezTo>
                    <a:pt x="268791" y="839285"/>
                    <a:pt x="282505" y="850256"/>
                    <a:pt x="282505" y="866713"/>
                  </a:cubicBezTo>
                  <a:lnTo>
                    <a:pt x="282505" y="874941"/>
                  </a:lnTo>
                  <a:lnTo>
                    <a:pt x="200222" y="874941"/>
                  </a:lnTo>
                  <a:lnTo>
                    <a:pt x="200222" y="839285"/>
                  </a:lnTo>
                  <a:close/>
                  <a:moveTo>
                    <a:pt x="1039509" y="940768"/>
                  </a:moveTo>
                  <a:lnTo>
                    <a:pt x="46627" y="940768"/>
                  </a:lnTo>
                  <a:cubicBezTo>
                    <a:pt x="38399" y="940768"/>
                    <a:pt x="30171" y="932539"/>
                    <a:pt x="30171" y="924311"/>
                  </a:cubicBezTo>
                  <a:cubicBezTo>
                    <a:pt x="30171" y="916083"/>
                    <a:pt x="38399" y="907854"/>
                    <a:pt x="46627" y="907854"/>
                  </a:cubicBezTo>
                  <a:lnTo>
                    <a:pt x="1039509" y="907854"/>
                  </a:lnTo>
                  <a:cubicBezTo>
                    <a:pt x="1047737" y="907854"/>
                    <a:pt x="1055966" y="916083"/>
                    <a:pt x="1055966" y="924311"/>
                  </a:cubicBezTo>
                  <a:cubicBezTo>
                    <a:pt x="1055966" y="932539"/>
                    <a:pt x="1047737" y="940768"/>
                    <a:pt x="1039509" y="940768"/>
                  </a:cubicBezTo>
                  <a:close/>
                </a:path>
              </a:pathLst>
            </a:custGeom>
            <a:grpFill/>
            <a:ln w="27426" cap="flat">
              <a:noFill/>
              <a:prstDash val="solid"/>
              <a:miter/>
            </a:ln>
          </p:spPr>
          <p:txBody>
            <a:bodyPr rtlCol="0" anchor="ctr"/>
            <a:lstStyle/>
            <a:p>
              <a:endParaRPr lang="en-US"/>
            </a:p>
          </p:txBody>
        </p:sp>
        <p:grpSp>
          <p:nvGrpSpPr>
            <p:cNvPr id="5" name="Graphic 3">
              <a:extLst>
                <a:ext uri="{FF2B5EF4-FFF2-40B4-BE49-F238E27FC236}">
                  <a16:creationId xmlns:a16="http://schemas.microsoft.com/office/drawing/2014/main" id="{0EBD1E5F-2948-155A-3B57-661A30F685A7}"/>
                </a:ext>
              </a:extLst>
            </p:cNvPr>
            <p:cNvGrpSpPr/>
            <p:nvPr/>
          </p:nvGrpSpPr>
          <p:grpSpPr>
            <a:xfrm>
              <a:off x="4738409" y="2001259"/>
              <a:ext cx="466270" cy="416900"/>
              <a:chOff x="4738409" y="2001259"/>
              <a:chExt cx="466270" cy="416900"/>
            </a:xfrm>
            <a:grpFill/>
          </p:grpSpPr>
          <p:sp>
            <p:nvSpPr>
              <p:cNvPr id="8" name="Freeform 7">
                <a:extLst>
                  <a:ext uri="{FF2B5EF4-FFF2-40B4-BE49-F238E27FC236}">
                    <a16:creationId xmlns:a16="http://schemas.microsoft.com/office/drawing/2014/main" id="{F3840086-72FE-5068-B7E9-CD5561D6C574}"/>
                  </a:ext>
                </a:extLst>
              </p:cNvPr>
              <p:cNvSpPr/>
              <p:nvPr/>
            </p:nvSpPr>
            <p:spPr>
              <a:xfrm>
                <a:off x="4738409" y="2044063"/>
                <a:ext cx="69649" cy="247929"/>
              </a:xfrm>
              <a:custGeom>
                <a:avLst/>
                <a:gdLst>
                  <a:gd name="connsiteX0" fmla="*/ 43884 w 69649"/>
                  <a:gd name="connsiteY0" fmla="*/ 242443 h 247929"/>
                  <a:gd name="connsiteX1" fmla="*/ 43884 w 69649"/>
                  <a:gd name="connsiteY1" fmla="*/ 242443 h 247929"/>
                  <a:gd name="connsiteX2" fmla="*/ 49370 w 69649"/>
                  <a:gd name="connsiteY2" fmla="*/ 247929 h 247929"/>
                  <a:gd name="connsiteX3" fmla="*/ 68569 w 69649"/>
                  <a:gd name="connsiteY3" fmla="*/ 220501 h 247929"/>
                  <a:gd name="connsiteX4" fmla="*/ 32913 w 69649"/>
                  <a:gd name="connsiteY4" fmla="*/ 116276 h 247929"/>
                  <a:gd name="connsiteX5" fmla="*/ 65827 w 69649"/>
                  <a:gd name="connsiteY5" fmla="*/ 25765 h 247929"/>
                  <a:gd name="connsiteX6" fmla="*/ 63084 w 69649"/>
                  <a:gd name="connsiteY6" fmla="*/ 3823 h 247929"/>
                  <a:gd name="connsiteX7" fmla="*/ 41142 w 69649"/>
                  <a:gd name="connsiteY7" fmla="*/ 6566 h 247929"/>
                  <a:gd name="connsiteX8" fmla="*/ 0 w 69649"/>
                  <a:gd name="connsiteY8" fmla="*/ 119019 h 247929"/>
                  <a:gd name="connsiteX9" fmla="*/ 43884 w 69649"/>
                  <a:gd name="connsiteY9" fmla="*/ 242443 h 24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49" h="247929">
                    <a:moveTo>
                      <a:pt x="43884" y="242443"/>
                    </a:moveTo>
                    <a:cubicBezTo>
                      <a:pt x="43884" y="242443"/>
                      <a:pt x="43884" y="242443"/>
                      <a:pt x="43884" y="242443"/>
                    </a:cubicBezTo>
                    <a:cubicBezTo>
                      <a:pt x="46627" y="245186"/>
                      <a:pt x="46627" y="245186"/>
                      <a:pt x="49370" y="247929"/>
                    </a:cubicBezTo>
                    <a:cubicBezTo>
                      <a:pt x="54855" y="239701"/>
                      <a:pt x="60341" y="228729"/>
                      <a:pt x="68569" y="220501"/>
                    </a:cubicBezTo>
                    <a:cubicBezTo>
                      <a:pt x="41142" y="179360"/>
                      <a:pt x="32913" y="140961"/>
                      <a:pt x="32913" y="116276"/>
                    </a:cubicBezTo>
                    <a:cubicBezTo>
                      <a:pt x="32913" y="80620"/>
                      <a:pt x="43884" y="50450"/>
                      <a:pt x="65827" y="25765"/>
                    </a:cubicBezTo>
                    <a:cubicBezTo>
                      <a:pt x="71312" y="20280"/>
                      <a:pt x="71312" y="9308"/>
                      <a:pt x="63084" y="3823"/>
                    </a:cubicBezTo>
                    <a:cubicBezTo>
                      <a:pt x="57598" y="-1662"/>
                      <a:pt x="46627" y="-1662"/>
                      <a:pt x="41142" y="6566"/>
                    </a:cubicBezTo>
                    <a:cubicBezTo>
                      <a:pt x="13714" y="36736"/>
                      <a:pt x="0" y="75135"/>
                      <a:pt x="0" y="119019"/>
                    </a:cubicBezTo>
                    <a:cubicBezTo>
                      <a:pt x="0" y="146447"/>
                      <a:pt x="8228" y="190331"/>
                      <a:pt x="43884" y="242443"/>
                    </a:cubicBezTo>
                    <a:close/>
                  </a:path>
                </a:pathLst>
              </a:custGeom>
              <a:solidFill>
                <a:srgbClr val="F16924"/>
              </a:solidFill>
              <a:ln w="27426"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70DD39B-BC97-4983-83B0-4AC23E118E67}"/>
                  </a:ext>
                </a:extLst>
              </p:cNvPr>
              <p:cNvSpPr/>
              <p:nvPr/>
            </p:nvSpPr>
            <p:spPr>
              <a:xfrm>
                <a:off x="4848120" y="2330391"/>
                <a:ext cx="233135" cy="87768"/>
              </a:xfrm>
              <a:custGeom>
                <a:avLst/>
                <a:gdLst>
                  <a:gd name="connsiteX0" fmla="*/ 21942 w 233135"/>
                  <a:gd name="connsiteY0" fmla="*/ 5485 h 87768"/>
                  <a:gd name="connsiteX1" fmla="*/ 21942 w 233135"/>
                  <a:gd name="connsiteY1" fmla="*/ 5485 h 87768"/>
                  <a:gd name="connsiteX2" fmla="*/ 0 w 233135"/>
                  <a:gd name="connsiteY2" fmla="*/ 32913 h 87768"/>
                  <a:gd name="connsiteX3" fmla="*/ 5485 w 233135"/>
                  <a:gd name="connsiteY3" fmla="*/ 27428 h 87768"/>
                  <a:gd name="connsiteX4" fmla="*/ 93254 w 233135"/>
                  <a:gd name="connsiteY4" fmla="*/ 82283 h 87768"/>
                  <a:gd name="connsiteX5" fmla="*/ 120682 w 233135"/>
                  <a:gd name="connsiteY5" fmla="*/ 87768 h 87768"/>
                  <a:gd name="connsiteX6" fmla="*/ 148110 w 233135"/>
                  <a:gd name="connsiteY6" fmla="*/ 82283 h 87768"/>
                  <a:gd name="connsiteX7" fmla="*/ 233136 w 233135"/>
                  <a:gd name="connsiteY7" fmla="*/ 30171 h 87768"/>
                  <a:gd name="connsiteX8" fmla="*/ 211193 w 233135"/>
                  <a:gd name="connsiteY8" fmla="*/ 5485 h 87768"/>
                  <a:gd name="connsiteX9" fmla="*/ 134396 w 233135"/>
                  <a:gd name="connsiteY9" fmla="*/ 52112 h 87768"/>
                  <a:gd name="connsiteX10" fmla="*/ 109711 w 233135"/>
                  <a:gd name="connsiteY10" fmla="*/ 52112 h 87768"/>
                  <a:gd name="connsiteX11" fmla="*/ 30171 w 233135"/>
                  <a:gd name="connsiteY11" fmla="*/ 2743 h 87768"/>
                  <a:gd name="connsiteX12" fmla="*/ 32913 w 233135"/>
                  <a:gd name="connsiteY12" fmla="*/ 0 h 87768"/>
                  <a:gd name="connsiteX13" fmla="*/ 21942 w 233135"/>
                  <a:gd name="connsiteY13" fmla="*/ 5485 h 8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135" h="87768">
                    <a:moveTo>
                      <a:pt x="21942" y="5485"/>
                    </a:moveTo>
                    <a:cubicBezTo>
                      <a:pt x="21942" y="5485"/>
                      <a:pt x="21942" y="5485"/>
                      <a:pt x="21942" y="5485"/>
                    </a:cubicBezTo>
                    <a:cubicBezTo>
                      <a:pt x="13714" y="13714"/>
                      <a:pt x="8228" y="24685"/>
                      <a:pt x="0" y="32913"/>
                    </a:cubicBezTo>
                    <a:lnTo>
                      <a:pt x="5485" y="27428"/>
                    </a:lnTo>
                    <a:cubicBezTo>
                      <a:pt x="30171" y="46627"/>
                      <a:pt x="60341" y="65826"/>
                      <a:pt x="93254" y="82283"/>
                    </a:cubicBezTo>
                    <a:cubicBezTo>
                      <a:pt x="101482" y="87768"/>
                      <a:pt x="109711" y="87768"/>
                      <a:pt x="120682" y="87768"/>
                    </a:cubicBezTo>
                    <a:cubicBezTo>
                      <a:pt x="131653" y="87768"/>
                      <a:pt x="139881" y="85026"/>
                      <a:pt x="148110" y="82283"/>
                    </a:cubicBezTo>
                    <a:cubicBezTo>
                      <a:pt x="181023" y="65826"/>
                      <a:pt x="208450" y="49370"/>
                      <a:pt x="233136" y="30171"/>
                    </a:cubicBezTo>
                    <a:cubicBezTo>
                      <a:pt x="224907" y="21942"/>
                      <a:pt x="216679" y="16457"/>
                      <a:pt x="211193" y="5485"/>
                    </a:cubicBezTo>
                    <a:cubicBezTo>
                      <a:pt x="189251" y="21942"/>
                      <a:pt x="161824" y="38399"/>
                      <a:pt x="134396" y="52112"/>
                    </a:cubicBezTo>
                    <a:cubicBezTo>
                      <a:pt x="126167" y="54855"/>
                      <a:pt x="117939" y="54855"/>
                      <a:pt x="109711" y="52112"/>
                    </a:cubicBezTo>
                    <a:cubicBezTo>
                      <a:pt x="79541" y="35656"/>
                      <a:pt x="52113" y="19199"/>
                      <a:pt x="30171" y="2743"/>
                    </a:cubicBezTo>
                    <a:lnTo>
                      <a:pt x="32913" y="0"/>
                    </a:lnTo>
                    <a:cubicBezTo>
                      <a:pt x="30171" y="5485"/>
                      <a:pt x="24685" y="5485"/>
                      <a:pt x="21942" y="5485"/>
                    </a:cubicBezTo>
                    <a:close/>
                  </a:path>
                </a:pathLst>
              </a:custGeom>
              <a:solidFill>
                <a:srgbClr val="F16924"/>
              </a:solidFill>
              <a:ln w="27426"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D08478D-C114-ECC8-CEA1-EFF47A71C070}"/>
                  </a:ext>
                </a:extLst>
              </p:cNvPr>
              <p:cNvSpPr/>
              <p:nvPr/>
            </p:nvSpPr>
            <p:spPr>
              <a:xfrm>
                <a:off x="4828207" y="2001259"/>
                <a:ext cx="376472" cy="290732"/>
              </a:xfrm>
              <a:custGeom>
                <a:avLst/>
                <a:gdLst>
                  <a:gd name="connsiteX0" fmla="*/ 22656 w 376472"/>
                  <a:gd name="connsiteY0" fmla="*/ 35656 h 290732"/>
                  <a:gd name="connsiteX1" fmla="*/ 55569 w 376472"/>
                  <a:gd name="connsiteY1" fmla="*/ 30171 h 290732"/>
                  <a:gd name="connsiteX2" fmla="*/ 132366 w 376472"/>
                  <a:gd name="connsiteY2" fmla="*/ 54855 h 290732"/>
                  <a:gd name="connsiteX3" fmla="*/ 151566 w 376472"/>
                  <a:gd name="connsiteY3" fmla="*/ 54855 h 290732"/>
                  <a:gd name="connsiteX4" fmla="*/ 228363 w 376472"/>
                  <a:gd name="connsiteY4" fmla="*/ 30171 h 290732"/>
                  <a:gd name="connsiteX5" fmla="*/ 343559 w 376472"/>
                  <a:gd name="connsiteY5" fmla="*/ 159080 h 290732"/>
                  <a:gd name="connsiteX6" fmla="*/ 302418 w 376472"/>
                  <a:gd name="connsiteY6" fmla="*/ 268791 h 290732"/>
                  <a:gd name="connsiteX7" fmla="*/ 299675 w 376472"/>
                  <a:gd name="connsiteY7" fmla="*/ 266048 h 290732"/>
                  <a:gd name="connsiteX8" fmla="*/ 296932 w 376472"/>
                  <a:gd name="connsiteY8" fmla="*/ 271533 h 290732"/>
                  <a:gd name="connsiteX9" fmla="*/ 310646 w 376472"/>
                  <a:gd name="connsiteY9" fmla="*/ 285247 h 290732"/>
                  <a:gd name="connsiteX10" fmla="*/ 316132 w 376472"/>
                  <a:gd name="connsiteY10" fmla="*/ 290733 h 290732"/>
                  <a:gd name="connsiteX11" fmla="*/ 329846 w 376472"/>
                  <a:gd name="connsiteY11" fmla="*/ 290733 h 290732"/>
                  <a:gd name="connsiteX12" fmla="*/ 329846 w 376472"/>
                  <a:gd name="connsiteY12" fmla="*/ 290733 h 290732"/>
                  <a:gd name="connsiteX13" fmla="*/ 376473 w 376472"/>
                  <a:gd name="connsiteY13" fmla="*/ 161823 h 290732"/>
                  <a:gd name="connsiteX14" fmla="*/ 231106 w 376472"/>
                  <a:gd name="connsiteY14" fmla="*/ 0 h 290732"/>
                  <a:gd name="connsiteX15" fmla="*/ 143337 w 376472"/>
                  <a:gd name="connsiteY15" fmla="*/ 24685 h 290732"/>
                  <a:gd name="connsiteX16" fmla="*/ 55569 w 376472"/>
                  <a:gd name="connsiteY16" fmla="*/ 0 h 290732"/>
                  <a:gd name="connsiteX17" fmla="*/ 11684 w 376472"/>
                  <a:gd name="connsiteY17" fmla="*/ 5485 h 290732"/>
                  <a:gd name="connsiteX18" fmla="*/ 714 w 376472"/>
                  <a:gd name="connsiteY18" fmla="*/ 24685 h 290732"/>
                  <a:gd name="connsiteX19" fmla="*/ 22656 w 376472"/>
                  <a:gd name="connsiteY19" fmla="*/ 35656 h 29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6472" h="290732">
                    <a:moveTo>
                      <a:pt x="22656" y="35656"/>
                    </a:moveTo>
                    <a:cubicBezTo>
                      <a:pt x="33627" y="32913"/>
                      <a:pt x="44598" y="30171"/>
                      <a:pt x="55569" y="30171"/>
                    </a:cubicBezTo>
                    <a:cubicBezTo>
                      <a:pt x="91225" y="30171"/>
                      <a:pt x="115910" y="43884"/>
                      <a:pt x="132366" y="54855"/>
                    </a:cubicBezTo>
                    <a:cubicBezTo>
                      <a:pt x="137852" y="57598"/>
                      <a:pt x="146080" y="57598"/>
                      <a:pt x="151566" y="54855"/>
                    </a:cubicBezTo>
                    <a:cubicBezTo>
                      <a:pt x="168023" y="43884"/>
                      <a:pt x="195450" y="30171"/>
                      <a:pt x="228363" y="30171"/>
                    </a:cubicBezTo>
                    <a:cubicBezTo>
                      <a:pt x="291447" y="30171"/>
                      <a:pt x="343559" y="87768"/>
                      <a:pt x="343559" y="159080"/>
                    </a:cubicBezTo>
                    <a:cubicBezTo>
                      <a:pt x="343559" y="186508"/>
                      <a:pt x="335331" y="224906"/>
                      <a:pt x="302418" y="268791"/>
                    </a:cubicBezTo>
                    <a:lnTo>
                      <a:pt x="299675" y="266048"/>
                    </a:lnTo>
                    <a:cubicBezTo>
                      <a:pt x="299675" y="268791"/>
                      <a:pt x="299675" y="268791"/>
                      <a:pt x="296932" y="271533"/>
                    </a:cubicBezTo>
                    <a:cubicBezTo>
                      <a:pt x="302418" y="277019"/>
                      <a:pt x="305161" y="282505"/>
                      <a:pt x="310646" y="285247"/>
                    </a:cubicBezTo>
                    <a:cubicBezTo>
                      <a:pt x="313389" y="287990"/>
                      <a:pt x="313389" y="287990"/>
                      <a:pt x="316132" y="290733"/>
                    </a:cubicBezTo>
                    <a:cubicBezTo>
                      <a:pt x="321618" y="290733"/>
                      <a:pt x="327103" y="290733"/>
                      <a:pt x="329846" y="290733"/>
                    </a:cubicBezTo>
                    <a:cubicBezTo>
                      <a:pt x="329846" y="290733"/>
                      <a:pt x="329846" y="290733"/>
                      <a:pt x="329846" y="290733"/>
                    </a:cubicBezTo>
                    <a:cubicBezTo>
                      <a:pt x="368244" y="238620"/>
                      <a:pt x="376473" y="191993"/>
                      <a:pt x="376473" y="161823"/>
                    </a:cubicBezTo>
                    <a:cubicBezTo>
                      <a:pt x="376473" y="71312"/>
                      <a:pt x="313389" y="0"/>
                      <a:pt x="231106" y="0"/>
                    </a:cubicBezTo>
                    <a:cubicBezTo>
                      <a:pt x="192707" y="0"/>
                      <a:pt x="165280" y="13714"/>
                      <a:pt x="143337" y="24685"/>
                    </a:cubicBezTo>
                    <a:cubicBezTo>
                      <a:pt x="124138" y="10971"/>
                      <a:pt x="93967" y="0"/>
                      <a:pt x="55569" y="0"/>
                    </a:cubicBezTo>
                    <a:cubicBezTo>
                      <a:pt x="41855" y="0"/>
                      <a:pt x="25398" y="2743"/>
                      <a:pt x="11684" y="5485"/>
                    </a:cubicBezTo>
                    <a:cubicBezTo>
                      <a:pt x="3456" y="8228"/>
                      <a:pt x="-2029" y="16457"/>
                      <a:pt x="714" y="24685"/>
                    </a:cubicBezTo>
                    <a:cubicBezTo>
                      <a:pt x="6199" y="32913"/>
                      <a:pt x="14427" y="38399"/>
                      <a:pt x="22656" y="35656"/>
                    </a:cubicBezTo>
                    <a:close/>
                  </a:path>
                </a:pathLst>
              </a:custGeom>
              <a:solidFill>
                <a:srgbClr val="F16924"/>
              </a:solid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8607050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5 </a:t>
            </a:r>
            <a:r>
              <a:rPr lang="el-GR" sz="4000" dirty="0">
                <a:solidFill>
                  <a:schemeClr val="bg1"/>
                </a:solidFill>
              </a:rPr>
              <a:t>	</a:t>
            </a:r>
            <a:r>
              <a:rPr lang="en-IE" dirty="0" err="1">
                <a:solidFill>
                  <a:schemeClr val="bg1"/>
                </a:solidFill>
              </a:rPr>
              <a:t>Μάθηση</a:t>
            </a:r>
            <a:r>
              <a:rPr lang="en-IE" dirty="0">
                <a:solidFill>
                  <a:schemeClr val="bg1"/>
                </a:solidFill>
              </a:rPr>
              <a:t> και ανθεκτικότητα </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9377743" cy="4255886"/>
          </a:xfrm>
        </p:spPr>
        <p:txBody>
          <a:bodyPr>
            <a:normAutofit/>
          </a:bodyPr>
          <a:lstStyle/>
          <a:p>
            <a:pPr marL="12700" indent="-12700" algn="just"/>
            <a:r>
              <a:rPr lang="en-GB" dirty="0">
                <a:latin typeface="Calibri" panose="020F0502020204030204" pitchFamily="34" charset="0"/>
                <a:ea typeface="Lato Light" panose="020F0502020204030203" pitchFamily="34" charset="0"/>
                <a:cs typeface="Calibri" panose="020F0502020204030204" pitchFamily="34" charset="0"/>
              </a:rPr>
              <a:t>Εάν η κρίση ξεπεραστεί με επιτυχία, πρέπει να </a:t>
            </a:r>
            <a:r>
              <a:rPr lang="el-GR" dirty="0">
                <a:latin typeface="Calibri" panose="020F0502020204030204" pitchFamily="34" charset="0"/>
                <a:ea typeface="Lato Light" panose="020F0502020204030203" pitchFamily="34" charset="0"/>
                <a:cs typeface="Calibri" panose="020F0502020204030204" pitchFamily="34" charset="0"/>
              </a:rPr>
              <a:t>πάρουμε το σωστό μάθημα</a:t>
            </a:r>
            <a:r>
              <a:rPr lang="en-GB" dirty="0">
                <a:latin typeface="Calibri" panose="020F0502020204030204" pitchFamily="34" charset="0"/>
                <a:ea typeface="Lato Light" panose="020F0502020204030203" pitchFamily="34" charset="0"/>
                <a:cs typeface="Calibri" panose="020F0502020204030204" pitchFamily="34" charset="0"/>
              </a:rPr>
              <a:t>. Εάν αυτό είναι επιτυχές, μπορεί να οδηγήσει σε βιώσιμη ανθεκτικότητα στην κρίση.</a:t>
            </a:r>
          </a:p>
        </p:txBody>
      </p:sp>
      <p:sp>
        <p:nvSpPr>
          <p:cNvPr id="2" name="TextBox 1">
            <a:extLst>
              <a:ext uri="{FF2B5EF4-FFF2-40B4-BE49-F238E27FC236}">
                <a16:creationId xmlns:a16="http://schemas.microsoft.com/office/drawing/2014/main" id="{5F287E9B-0697-9CFF-5766-567DB12E05B5}"/>
              </a:ext>
            </a:extLst>
          </p:cNvPr>
          <p:cNvSpPr txBox="1"/>
          <p:nvPr/>
        </p:nvSpPr>
        <p:spPr>
          <a:xfrm>
            <a:off x="2225677" y="3188929"/>
            <a:ext cx="8957141" cy="2554545"/>
          </a:xfrm>
          <a:prstGeom prst="rect">
            <a:avLst/>
          </a:prstGeom>
          <a:solidFill>
            <a:srgbClr val="F16924"/>
          </a:solidFill>
        </p:spPr>
        <p:txBody>
          <a:bodyPr wrap="square" anchor="ctr">
            <a:spAutoFit/>
          </a:bodyPr>
          <a:lstStyle/>
          <a:p>
            <a:pPr algn="ctr"/>
            <a:endParaRPr lang="en-GB" sz="2000" i="1" dirty="0">
              <a:solidFill>
                <a:schemeClr val="bg1"/>
              </a:solidFill>
              <a:latin typeface="Calibri" panose="020F0502020204030204" pitchFamily="34" charset="0"/>
              <a:cs typeface="Calibri" panose="020F0502020204030204" pitchFamily="34" charset="0"/>
            </a:endParaRPr>
          </a:p>
          <a:p>
            <a:pPr algn="ctr"/>
            <a:r>
              <a:rPr lang="en-GB" sz="2000" i="1" dirty="0">
                <a:solidFill>
                  <a:schemeClr val="bg1"/>
                </a:solidFill>
                <a:latin typeface="Calibri" panose="020F0502020204030204" pitchFamily="34" charset="0"/>
                <a:cs typeface="Calibri" panose="020F0502020204030204" pitchFamily="34" charset="0"/>
              </a:rPr>
              <a:t>"Είμαι πεπεισμένος ότι περίπου το μισό από αυτό που διαχωρίζει τους επιτυχημένους επιχειρηματίες από τους μη επιτυχημένους είναι η καθαρή επιμονή. Είναι τόσο δύσκολο και ρίχνεις τόσο πολύ από τη ζωή σου σε αυτό το πράγμα, υπάρχουν τόσο δύσκολες στιγμές στο χρόνο που οι περισσότεροι άνθρωποι τα παρατάνε. Και δεν τους κατηγορώ, είναι πραγματικά δύσκολο". </a:t>
            </a:r>
          </a:p>
          <a:p>
            <a:pPr algn="ctr"/>
            <a:endParaRPr lang="en-GB" sz="2000" i="1" dirty="0">
              <a:solidFill>
                <a:schemeClr val="bg1"/>
              </a:solidFill>
              <a:latin typeface="Calibri" panose="020F0502020204030204" pitchFamily="34" charset="0"/>
              <a:cs typeface="Calibri" panose="020F0502020204030204" pitchFamily="34" charset="0"/>
            </a:endParaRPr>
          </a:p>
          <a:p>
            <a:pPr algn="ctr"/>
            <a:r>
              <a:rPr lang="en-GB" sz="2000" b="1" dirty="0">
                <a:solidFill>
                  <a:schemeClr val="bg1"/>
                </a:solidFill>
                <a:latin typeface="Calibri" panose="020F0502020204030204" pitchFamily="34" charset="0"/>
                <a:cs typeface="Calibri" panose="020F0502020204030204" pitchFamily="34" charset="0"/>
              </a:rPr>
              <a:t>Steve Jobs, συνιδρυτής της Apple</a:t>
            </a:r>
          </a:p>
          <a:p>
            <a:pPr algn="ctr"/>
            <a:endParaRPr lang="en-GB" sz="2000" b="1" dirty="0">
              <a:solidFill>
                <a:schemeClr val="bg1"/>
              </a:solidFill>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48545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2D945-AFAD-627A-86C7-4D5226FF17F1}"/>
              </a:ext>
            </a:extLst>
          </p:cNvPr>
          <p:cNvSpPr>
            <a:spLocks noGrp="1"/>
          </p:cNvSpPr>
          <p:nvPr>
            <p:ph type="body" sz="quarter" idx="18"/>
          </p:nvPr>
        </p:nvSpPr>
        <p:spPr>
          <a:xfrm>
            <a:off x="734715" y="2096085"/>
            <a:ext cx="5666086" cy="3528629"/>
          </a:xfrm>
        </p:spPr>
        <p:txBody>
          <a:bodyPr>
            <a:normAutofit fontScale="92500" lnSpcReduction="20000"/>
          </a:bodyPr>
          <a:lstStyle/>
          <a:p>
            <a:pPr marL="12700" indent="-12700"/>
            <a:r>
              <a:rPr lang="en-US" dirty="0">
                <a:latin typeface="Calibri" panose="020F0502020204030204" pitchFamily="34" charset="0"/>
                <a:ea typeface="Calibri" panose="020F0502020204030204" pitchFamily="34" charset="0"/>
                <a:cs typeface="Times New Roman" panose="02020603050405020304" pitchFamily="18" charset="0"/>
              </a:rPr>
              <a:t>Το </a:t>
            </a:r>
            <a:r>
              <a:rPr lang="el-GR" dirty="0">
                <a:latin typeface="Calibri" panose="020F0502020204030204" pitchFamily="34" charset="0"/>
                <a:ea typeface="Calibri" panose="020F0502020204030204" pitchFamily="34" charset="0"/>
                <a:cs typeface="Times New Roman" panose="02020603050405020304" pitchFamily="18" charset="0"/>
              </a:rPr>
              <a:t>ΠΡΟΓΡΑΜΜΑ ΜΑΘΗΜΑΤΩΝ ΚΑΙ ΤΟ ΠΑΚΕΤΟ ΕΠΑΓΓΕΛΜΑΤΙΚΗΣ ΕΚΠΑΙΔΕΥΣΗΣ ΚΑΙ ΚΑΤΑΡΤΙΣΗΣ ΤΟΥ ΕΡΓΟΥ </a:t>
            </a:r>
            <a:r>
              <a:rPr lang="en-US" dirty="0">
                <a:latin typeface="Calibri" panose="020F0502020204030204" pitchFamily="34" charset="0"/>
                <a:ea typeface="Calibri" panose="020F0502020204030204" pitchFamily="34" charset="0"/>
                <a:cs typeface="Times New Roman" panose="02020603050405020304" pitchFamily="18" charset="0"/>
              </a:rPr>
              <a:t>SECURE </a:t>
            </a:r>
            <a:r>
              <a:rPr lang="en-US" dirty="0" err="1">
                <a:latin typeface="Calibri" panose="020F0502020204030204" pitchFamily="34" charset="0"/>
                <a:ea typeface="Calibri" panose="020F0502020204030204" pitchFamily="34" charset="0"/>
                <a:cs typeface="Times New Roman" panose="02020603050405020304" pitchFamily="18" charset="0"/>
              </a:rPr>
              <a:t>είν</a:t>
            </a:r>
            <a:r>
              <a:rPr lang="en-US" dirty="0">
                <a:latin typeface="Calibri" panose="020F0502020204030204" pitchFamily="34" charset="0"/>
                <a:ea typeface="Calibri" panose="020F0502020204030204" pitchFamily="34" charset="0"/>
                <a:cs typeface="Times New Roman" panose="02020603050405020304" pitchFamily="18" charset="0"/>
              </a:rPr>
              <a:t>αι η πρώτη ολιστική προσέγγιση ΕΕΚ για την αντιμετώπιση της έγκαιρης ανίχνευσης και επίλυσης κρίσεων με βάση ένα πλαίσιο που αναπτύχθηκε ειδικά για ΜΜΕ. Αυτό </a:t>
            </a:r>
            <a:r>
              <a:rPr lang="en-US" dirty="0" err="1">
                <a:latin typeface="Calibri" panose="020F0502020204030204" pitchFamily="34" charset="0"/>
                <a:ea typeface="Calibri" panose="020F0502020204030204" pitchFamily="34" charset="0"/>
                <a:cs typeface="Times New Roman" panose="02020603050405020304" pitchFamily="18" charset="0"/>
              </a:rPr>
              <a:t>το</a:t>
            </a:r>
            <a:r>
              <a:rPr lang="en-US" dirty="0">
                <a:latin typeface="Calibri" panose="020F0502020204030204" pitchFamily="34" charset="0"/>
                <a:ea typeface="Calibri" panose="020F0502020204030204" pitchFamily="34" charset="0"/>
                <a:cs typeface="Times New Roman" panose="02020603050405020304" pitchFamily="18" charset="0"/>
              </a:rPr>
              <a:t> επιτυγχάνει συνδυάζοντας μια προσέγγιση βασισμένη σε προγράμματα σπουδών, η οποία μπορεί να υιοθετηθεί στη διδασκαλία και την κατάρτιση </a:t>
            </a:r>
            <a:r>
              <a:rPr lang="el-GR" dirty="0">
                <a:latin typeface="Calibri" panose="020F0502020204030204" pitchFamily="34" charset="0"/>
                <a:ea typeface="Calibri" panose="020F0502020204030204" pitchFamily="34" charset="0"/>
                <a:cs typeface="Times New Roman" panose="02020603050405020304" pitchFamily="18" charset="0"/>
              </a:rPr>
              <a:t>στο πλαίσιο της </a:t>
            </a:r>
            <a:r>
              <a:rPr lang="en-US" dirty="0">
                <a:latin typeface="Calibri" panose="020F0502020204030204" pitchFamily="34" charset="0"/>
                <a:ea typeface="Calibri" panose="020F0502020204030204" pitchFamily="34" charset="0"/>
                <a:cs typeface="Times New Roman" panose="02020603050405020304" pitchFamily="18" charset="0"/>
              </a:rPr>
              <a:t>ΕΕΚ, με </a:t>
            </a:r>
            <a:r>
              <a:rPr lang="en-US" dirty="0" err="1">
                <a:latin typeface="Calibri" panose="020F0502020204030204" pitchFamily="34" charset="0"/>
                <a:ea typeface="Calibri" panose="020F0502020204030204" pitchFamily="34" charset="0"/>
                <a:cs typeface="Times New Roman" panose="02020603050405020304" pitchFamily="18" charset="0"/>
              </a:rPr>
              <a:t>μι</a:t>
            </a:r>
            <a:r>
              <a:rPr lang="en-US" dirty="0">
                <a:latin typeface="Calibri" panose="020F0502020204030204" pitchFamily="34" charset="0"/>
                <a:ea typeface="Calibri" panose="020F0502020204030204" pitchFamily="34" charset="0"/>
                <a:cs typeface="Times New Roman" panose="02020603050405020304" pitchFamily="18" charset="0"/>
              </a:rPr>
              <a:t>α προσέγγιση</a:t>
            </a:r>
            <a:r>
              <a:rPr lang="el-GR" dirty="0">
                <a:latin typeface="Calibri" panose="020F0502020204030204" pitchFamily="34" charset="0"/>
                <a:ea typeface="Calibri" panose="020F0502020204030204" pitchFamily="34" charset="0"/>
                <a:cs typeface="Times New Roman" panose="02020603050405020304" pitchFamily="18" charset="0"/>
              </a:rPr>
              <a:t> που βασίζεται σε ενότητες</a:t>
            </a:r>
            <a:r>
              <a:rPr lang="en-US" dirty="0">
                <a:latin typeface="Calibri" panose="020F0502020204030204" pitchFamily="34" charset="0"/>
                <a:ea typeface="Calibri" panose="020F0502020204030204" pitchFamily="34" charset="0"/>
                <a:cs typeface="Times New Roman" panose="02020603050405020304" pitchFamily="18" charset="0"/>
              </a:rPr>
              <a:t>, η οποία είναι ιδιαίτερα χρήσιμη για τους συμβούλους </a:t>
            </a:r>
            <a:r>
              <a:rPr lang="el-GR" dirty="0">
                <a:latin typeface="Calibri" panose="020F0502020204030204" pitchFamily="34" charset="0"/>
                <a:ea typeface="Calibri" panose="020F0502020204030204" pitchFamily="34" charset="0"/>
                <a:cs typeface="Times New Roman" panose="02020603050405020304" pitchFamily="18" charset="0"/>
              </a:rPr>
              <a:t>επιχειρήσεων </a:t>
            </a:r>
            <a:r>
              <a:rPr lang="en-US" dirty="0">
                <a:latin typeface="Calibri" panose="020F0502020204030204" pitchFamily="34" charset="0"/>
                <a:ea typeface="Calibri" panose="020F0502020204030204" pitchFamily="34" charset="0"/>
                <a:cs typeface="Times New Roman" panose="02020603050405020304" pitchFamily="18" charset="0"/>
              </a:rPr>
              <a:t>και για χρήση απευθείας από ΜΜΕ και </a:t>
            </a:r>
            <a:r>
              <a:rPr lang="el-GR" dirty="0">
                <a:latin typeface="Calibri" panose="020F0502020204030204" pitchFamily="34" charset="0"/>
                <a:ea typeface="Calibri" panose="020F0502020204030204" pitchFamily="34" charset="0"/>
                <a:cs typeface="Times New Roman" panose="02020603050405020304" pitchFamily="18" charset="0"/>
              </a:rPr>
              <a:t> επιχειρηματίες</a:t>
            </a:r>
            <a:r>
              <a:rPr lang="en-US" dirty="0">
                <a:latin typeface="Calibri" panose="020F0502020204030204" pitchFamily="34" charset="0"/>
                <a:ea typeface="Calibri" panose="020F0502020204030204" pitchFamily="34" charset="0"/>
                <a:cs typeface="Times New Roman" panose="02020603050405020304" pitchFamily="18" charset="0"/>
              </a:rPr>
              <a:t>.</a:t>
            </a:r>
            <a:endParaRPr lang="en-IE"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734713" y="405228"/>
            <a:ext cx="7241669" cy="1453114"/>
          </a:xfrm>
        </p:spPr>
        <p:txBody>
          <a:bodyPr>
            <a:normAutofit fontScale="85000" lnSpcReduction="20000"/>
          </a:bodyPr>
          <a:lstStyle/>
          <a:p>
            <a:r>
              <a:rPr lang="en-US" dirty="0"/>
              <a:t>Γιατί είναι ιδιαίτερο το </a:t>
            </a:r>
            <a:r>
              <a:rPr lang="el-GR" b="1" dirty="0">
                <a:effectLst/>
                <a:latin typeface="Calibri" panose="020F0502020204030204" pitchFamily="34" charset="0"/>
                <a:ea typeface="Calibri" panose="020F0502020204030204" pitchFamily="34" charset="0"/>
                <a:cs typeface="Times New Roman" panose="02020603050405020304" pitchFamily="18" charset="0"/>
              </a:rPr>
              <a:t>ΠΡΟΓΡΑΜΜΑ ΜΑΘΗΜΑΤΩΝ</a:t>
            </a:r>
            <a:r>
              <a:rPr lang="en-US" b="1" dirty="0">
                <a:effectLst/>
                <a:latin typeface="Calibri" panose="020F0502020204030204" pitchFamily="34" charset="0"/>
                <a:ea typeface="Calibri" panose="020F0502020204030204" pitchFamily="34" charset="0"/>
                <a:cs typeface="Times New Roman" panose="02020603050405020304" pitchFamily="18" charset="0"/>
              </a:rPr>
              <a:t> και </a:t>
            </a:r>
            <a:r>
              <a:rPr lang="en-US" b="1" dirty="0" err="1">
                <a:effectLst/>
                <a:latin typeface="Calibri" panose="020F0502020204030204" pitchFamily="34" charset="0"/>
                <a:ea typeface="Calibri" panose="020F0502020204030204" pitchFamily="34" charset="0"/>
                <a:cs typeface="Times New Roman" panose="02020603050405020304" pitchFamily="18" charset="0"/>
              </a:rPr>
              <a:t>το</a:t>
            </a:r>
            <a:r>
              <a:rPr lang="en-US" b="1" dirty="0">
                <a:effectLst/>
                <a:latin typeface="Calibri" panose="020F0502020204030204" pitchFamily="34" charset="0"/>
                <a:ea typeface="Calibri" panose="020F0502020204030204" pitchFamily="34" charset="0"/>
                <a:cs typeface="Times New Roman" panose="02020603050405020304" pitchFamily="18" charset="0"/>
              </a:rPr>
              <a:t> ΠΑΚΕΤΟ </a:t>
            </a:r>
            <a:r>
              <a:rPr lang="el-GR" b="1" dirty="0">
                <a:effectLst/>
                <a:latin typeface="Calibri" panose="020F0502020204030204" pitchFamily="34" charset="0"/>
                <a:ea typeface="Calibri" panose="020F0502020204030204" pitchFamily="34" charset="0"/>
                <a:cs typeface="Times New Roman" panose="02020603050405020304" pitchFamily="18" charset="0"/>
              </a:rPr>
              <a:t>ΕΠΑΓΓΕΛΜΑΤΙΚΗΣ </a:t>
            </a:r>
            <a:r>
              <a:rPr lang="en-US" b="1" dirty="0">
                <a:effectLst/>
                <a:latin typeface="Calibri" panose="020F0502020204030204" pitchFamily="34" charset="0"/>
                <a:ea typeface="Calibri" panose="020F0502020204030204" pitchFamily="34" charset="0"/>
                <a:cs typeface="Times New Roman" panose="02020603050405020304" pitchFamily="18" charset="0"/>
              </a:rPr>
              <a:t>ΕΚΠΑΙΔΕΥΣΗΣ </a:t>
            </a:r>
            <a:r>
              <a:rPr lang="el-GR" b="1" dirty="0">
                <a:effectLst/>
                <a:latin typeface="Calibri" panose="020F0502020204030204" pitchFamily="34" charset="0"/>
                <a:ea typeface="Calibri" panose="020F0502020204030204" pitchFamily="34" charset="0"/>
                <a:cs typeface="Times New Roman" panose="02020603050405020304" pitchFamily="18" charset="0"/>
              </a:rPr>
              <a:t>ΚΑΙ ΚΑΤΑΡΤΙΣΗΣ ΤΟΥ ΕΡΓΟΥ </a:t>
            </a:r>
            <a:r>
              <a:rPr lang="en-GB" sz="3600" dirty="0">
                <a:solidFill>
                  <a:schemeClr val="bg1"/>
                </a:solidFill>
                <a:highlight>
                  <a:srgbClr val="F16924"/>
                </a:highlight>
              </a:rPr>
              <a:t>SECURE</a:t>
            </a:r>
            <a:r>
              <a:rPr lang="en-US" dirty="0"/>
              <a:t>;</a:t>
            </a:r>
          </a:p>
        </p:txBody>
      </p:sp>
      <p:pic>
        <p:nvPicPr>
          <p:cNvPr id="5" name="Picture 4" descr="Icon&#10;&#10;Description automatically generated">
            <a:extLst>
              <a:ext uri="{FF2B5EF4-FFF2-40B4-BE49-F238E27FC236}">
                <a16:creationId xmlns:a16="http://schemas.microsoft.com/office/drawing/2014/main" id="{4E8A0052-0A55-522A-2BB0-59E9948A0E76}"/>
              </a:ext>
            </a:extLst>
          </p:cNvPr>
          <p:cNvPicPr/>
          <p:nvPr/>
        </p:nvPicPr>
        <p:blipFill rotWithShape="1">
          <a:blip r:embed="rId2" cstate="screen">
            <a:extLst>
              <a:ext uri="{28A0092B-C50C-407E-A947-70E740481C1C}">
                <a14:useLocalDpi xmlns:a14="http://schemas.microsoft.com/office/drawing/2010/main"/>
              </a:ext>
            </a:extLst>
          </a:blip>
          <a:srcRect l="6291" t="4502" r="13258" b="10881"/>
          <a:stretch/>
        </p:blipFill>
        <p:spPr>
          <a:xfrm>
            <a:off x="6484950" y="211015"/>
            <a:ext cx="6035215" cy="5830859"/>
          </a:xfrm>
          <a:prstGeom prst="rect">
            <a:avLst/>
          </a:prstGeom>
        </p:spPr>
      </p:pic>
      <p:sp>
        <p:nvSpPr>
          <p:cNvPr id="6" name="Rectangle 5">
            <a:extLst>
              <a:ext uri="{FF2B5EF4-FFF2-40B4-BE49-F238E27FC236}">
                <a16:creationId xmlns:a16="http://schemas.microsoft.com/office/drawing/2014/main" id="{82F49A78-CA2B-C594-04DF-F1CD4FF555A2}"/>
              </a:ext>
            </a:extLst>
          </p:cNvPr>
          <p:cNvSpPr/>
          <p:nvPr/>
        </p:nvSpPr>
        <p:spPr>
          <a:xfrm>
            <a:off x="818862" y="183269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 name="TextBox 6">
            <a:extLst>
              <a:ext uri="{FF2B5EF4-FFF2-40B4-BE49-F238E27FC236}">
                <a16:creationId xmlns:a16="http://schemas.microsoft.com/office/drawing/2014/main" id="{C9EEC6F1-F743-DD8E-CDA1-31EEF2B94173}"/>
              </a:ext>
            </a:extLst>
          </p:cNvPr>
          <p:cNvSpPr txBox="1"/>
          <p:nvPr/>
        </p:nvSpPr>
        <p:spPr>
          <a:xfrm>
            <a:off x="478544" y="5953418"/>
            <a:ext cx="11600042" cy="523220"/>
          </a:xfrm>
          <a:prstGeom prst="rect">
            <a:avLst/>
          </a:prstGeom>
          <a:noFill/>
        </p:spPr>
        <p:txBody>
          <a:bodyPr wrap="square">
            <a:spAutoFit/>
          </a:bodyPr>
          <a:lstStyle/>
          <a:p>
            <a:r>
              <a:rPr lang="en-GB" sz="1400" dirty="0">
                <a:solidFill>
                  <a:srgbClr val="595959"/>
                </a:solidFill>
              </a:rPr>
              <a:t>"Η υποστήριξη της Ευρωπαϊκής Επιτροπής για την παραγωγή της παρούσας δημοσίευσης δεν συνιστά έγκριση του περιεχομένου, το οποίο αντανακλά τις απόψεις μόνο των συγγραφέων, και η Επιτροπή δεν μπορεί να θεωρηθεί υπεύθυνη για οποιαδήποτε χρήση των πληροφοριών που περιέχονται σε αυτήν."</a:t>
            </a:r>
            <a:endParaRPr lang="en-IE" sz="1400" dirty="0">
              <a:solidFill>
                <a:srgbClr val="595959"/>
              </a:solidFill>
            </a:endParaRPr>
          </a:p>
        </p:txBody>
      </p:sp>
      <p:pic>
        <p:nvPicPr>
          <p:cNvPr id="8" name="Picture 7">
            <a:extLst>
              <a:ext uri="{FF2B5EF4-FFF2-40B4-BE49-F238E27FC236}">
                <a16:creationId xmlns:a16="http://schemas.microsoft.com/office/drawing/2014/main" id="{EA895E61-E0A0-D3A1-E6A8-E9F53A601598}"/>
              </a:ext>
            </a:extLst>
          </p:cNvPr>
          <p:cNvPicPr>
            <a:picLocks noChangeAspect="1"/>
          </p:cNvPicPr>
          <p:nvPr/>
        </p:nvPicPr>
        <p:blipFill>
          <a:blip r:embed="rId3"/>
          <a:stretch>
            <a:fillRect/>
          </a:stretch>
        </p:blipFill>
        <p:spPr>
          <a:xfrm>
            <a:off x="7836195" y="2213491"/>
            <a:ext cx="4171507" cy="3575575"/>
          </a:xfrm>
          <a:prstGeom prst="rect">
            <a:avLst/>
          </a:prstGeom>
        </p:spPr>
      </p:pic>
    </p:spTree>
    <p:extLst>
      <p:ext uri="{BB962C8B-B14F-4D97-AF65-F5344CB8AC3E}">
        <p14:creationId xmlns:p14="http://schemas.microsoft.com/office/powerpoint/2010/main" val="25950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5 </a:t>
            </a:r>
            <a:r>
              <a:rPr lang="en-IE" dirty="0">
                <a:solidFill>
                  <a:schemeClr val="bg1"/>
                </a:solidFill>
              </a:rPr>
              <a:t>Μάθηση και ανθεκτικότητα </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316725" y="1828977"/>
            <a:ext cx="9377743" cy="4503942"/>
          </a:xfrm>
        </p:spPr>
        <p:txBody>
          <a:bodyPr>
            <a:noAutofit/>
          </a:bodyPr>
          <a:lstStyle/>
          <a:p>
            <a:pPr marL="12700" indent="-12700" algn="just">
              <a:lnSpc>
                <a:spcPct val="110000"/>
              </a:lnSpc>
            </a:pPr>
            <a:r>
              <a:rPr lang="en-GB" sz="1800" b="0" i="0" dirty="0">
                <a:effectLst/>
                <a:latin typeface="Finlandica"/>
              </a:rPr>
              <a:t>Η κρίση του COVID-19 αφύπνισε πολλούς να συνειδητοποιήσουν τη σημασία της ανθεκτικότητας στις λειτουργίες μιας εταιρείας - και σίγουρα δεν θα είναι η τελευταία κρίση που θα αντιμετωπίσουμε. Η ανθεκτικότητα είναι κάτι που πρέπει να οικοδομηθεί πριν από την κρίση - όχι κατά τη διάρκειά της. Η ανθεκτικότητα μπορεί να οριστεί ως η ικανότητα ενός συστήματος, είτε πρόκειται για έναν οργανισμό, ένα άτομο ή μια οικονομία, να αντιμετωπίζει τις αλλαγές και να συνεχίζει να αναπτύσσεται. Η ανθεκτικότητα δεν είναι εγγενές χαρακτηριστικό, αλλά πρέπει να σχεδιάζεται και να οικοδομείται συστηματικά - και να υιοθετείται στις καθημερινές δραστηριότητες των επιχειρήσεων. Ο σχεδιασμός και η προετοιμασία παίζουν καθοριστικό ρόλο: η οικοδόμηση διαφορετικών σεναρίων, η οικοδόμηση ευελιξίας και εμπιστοσύνης. Όταν η ανθεκτικότητα ενσωματώνεται σε ένα σύστημα, οι απροσδόκητες αλλαγές δεν θα προκαλέσουν τραγωδία αλλά νέες ευκαιρίες.</a:t>
            </a:r>
          </a:p>
          <a:p>
            <a:pPr marL="12700" indent="-12700" algn="just">
              <a:lnSpc>
                <a:spcPct val="110000"/>
              </a:lnSpc>
            </a:pPr>
            <a:r>
              <a:rPr lang="en-US" sz="1800" b="1" dirty="0">
                <a:solidFill>
                  <a:schemeClr val="bg1"/>
                </a:solidFill>
                <a:highlight>
                  <a:srgbClr val="F16924"/>
                </a:highlight>
              </a:rPr>
              <a:t>ΔΙΑΒΑΣΤΕ </a:t>
            </a:r>
            <a:r>
              <a:rPr lang="en-GB" sz="1800" dirty="0">
                <a:latin typeface="Finlandica"/>
              </a:rPr>
              <a:t>Προβολή της ανθεκτικότητας των φινλανδικών μεταποιητικών επιχειρήσεων Η </a:t>
            </a:r>
            <a:r>
              <a:rPr lang="en-GB" sz="1800" dirty="0">
                <a:solidFill>
                  <a:srgbClr val="B41F7A"/>
                </a:solidFill>
                <a:hlinkClick r:id="rId3">
                  <a:extLst>
                    <a:ext uri="{A12FA001-AC4F-418D-AE19-62706E023703}">
                      <ahyp:hlinkClr xmlns:ahyp="http://schemas.microsoft.com/office/drawing/2018/hyperlinkcolor" val="tx"/>
                    </a:ext>
                  </a:extLst>
                </a:hlinkClick>
              </a:rPr>
              <a:t>βιωσιμότητα είναι ανθεκτική - πώς να προετοιμαστείτε για την κρίση και να αναπτυχθείτε βιώσιμα; - Business Finland</a:t>
            </a:r>
            <a:endParaRPr lang="en-GB" sz="1800" dirty="0">
              <a:solidFill>
                <a:srgbClr val="B41F7A"/>
              </a:solidFill>
              <a:latin typeface="Calibri" panose="020F0502020204030204" pitchFamily="34" charset="0"/>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51225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572475"/>
            <a:ext cx="3291071" cy="4658741"/>
          </a:xfrm>
        </p:spPr>
        <p:txBody>
          <a:bodyPr>
            <a:normAutofit/>
          </a:bodyPr>
          <a:lstStyle/>
          <a:p>
            <a:endParaRPr lang="en-US" dirty="0"/>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57339" y="844841"/>
            <a:ext cx="8215987" cy="5016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r>
              <a:rPr lang="en-GB" sz="2000" dirty="0">
                <a:solidFill>
                  <a:srgbClr val="595959"/>
                </a:solidFill>
                <a:latin typeface="Nuacht Serif Text"/>
              </a:rPr>
              <a:t>Ο κλάδος της φιλοξενίας θεωρείται ένας από τους πλέον πληττόμενους από τις συνέπειες της πανδημίας COVID-19, με αισθητή την αγωνία για την ικανότητά του να ανακάμψει από αυτή τη δραματική κατάσταση. Οι επιχειρήσεις φιλοξενίας επέδειξαν χαμηλούς ή ανεπαρκείς οικονομικούς πόρους για να αντέξουν το αναγκαστικό κλείσιμο μετά το κλείσιμο. </a:t>
            </a:r>
          </a:p>
          <a:p>
            <a:pPr algn="l"/>
            <a:endParaRPr lang="en-GB" sz="2000" b="0" i="0" dirty="0">
              <a:solidFill>
                <a:srgbClr val="595959"/>
              </a:solidFill>
              <a:effectLst/>
              <a:latin typeface="Nuacht Serif Text"/>
            </a:endParaRPr>
          </a:p>
          <a:p>
            <a:pPr algn="l"/>
            <a:r>
              <a:rPr lang="en-GB" sz="2000" b="0" i="0" dirty="0">
                <a:solidFill>
                  <a:srgbClr val="595959"/>
                </a:solidFill>
                <a:effectLst/>
                <a:latin typeface="Nuacht Serif Text"/>
              </a:rPr>
              <a:t>Για την </a:t>
            </a:r>
            <a:r>
              <a:rPr lang="en-GB" sz="2000" b="1" i="0" dirty="0">
                <a:solidFill>
                  <a:srgbClr val="595959"/>
                </a:solidFill>
                <a:effectLst/>
                <a:latin typeface="Nuacht Serif Text"/>
                <a:hlinkClick r:id="rId2"/>
              </a:rPr>
              <a:t>Belle's Kitchen </a:t>
            </a:r>
            <a:r>
              <a:rPr lang="en-GB" sz="2000" b="1" i="0" dirty="0" err="1">
                <a:solidFill>
                  <a:srgbClr val="595959"/>
                </a:solidFill>
                <a:effectLst/>
                <a:latin typeface="Nuacht Serif Text"/>
                <a:hlinkClick r:id="rId2"/>
              </a:rPr>
              <a:t>Rathmullan</a:t>
            </a:r>
            <a:r>
              <a:rPr lang="en-GB" sz="2000" b="1" i="0" dirty="0">
                <a:solidFill>
                  <a:srgbClr val="595959"/>
                </a:solidFill>
                <a:effectLst/>
                <a:latin typeface="Nuacht Serif Text"/>
                <a:hlinkClick r:id="rId2"/>
              </a:rPr>
              <a:t>, Co Donegal</a:t>
            </a:r>
            <a:r>
              <a:rPr lang="en-GB" sz="2000" b="1" i="0" dirty="0">
                <a:solidFill>
                  <a:srgbClr val="595959"/>
                </a:solidFill>
                <a:effectLst/>
                <a:latin typeface="Nuacht Serif Text"/>
              </a:rPr>
              <a:t>, Ιρλανδία, η ανθεκτικότητα ήταν το κλειδί για την επιβίωση και την επανεφεύρεση της επιχείρησης. </a:t>
            </a:r>
            <a:r>
              <a:rPr lang="en-GB" sz="2000" i="0" dirty="0">
                <a:solidFill>
                  <a:srgbClr val="595959"/>
                </a:solidFill>
                <a:effectLst/>
                <a:latin typeface="Nuacht Serif Text"/>
              </a:rPr>
              <a:t>Το Belle's Kitchen άνοιξε το 2004 και είναι ένα οικογενειακό εστιατόριο που βρίσκεται σε μια αγροτική τουριστική περιοχή. Έχει </a:t>
            </a:r>
            <a:r>
              <a:rPr lang="en-GB" sz="2000" dirty="0">
                <a:solidFill>
                  <a:srgbClr val="595959"/>
                </a:solidFill>
                <a:latin typeface="Nuacht Serif Text"/>
              </a:rPr>
              <a:t>αντιμετωπίσει </a:t>
            </a:r>
            <a:r>
              <a:rPr lang="en-GB" sz="2000" i="0" dirty="0">
                <a:solidFill>
                  <a:srgbClr val="595959"/>
                </a:solidFill>
                <a:effectLst/>
                <a:latin typeface="Nuacht Serif Text"/>
              </a:rPr>
              <a:t>πολλές προκλήσεις όλα αυτά τα χρόνια, συμπεριλαμβανομένης της παγκόσμιας ύφεσης του 2008 και πιο πρόσφατα της πανδημίας COVID-19.</a:t>
            </a:r>
          </a:p>
          <a:p>
            <a:pPr algn="l"/>
            <a:endParaRPr lang="en-GB" sz="2000" i="0" dirty="0">
              <a:solidFill>
                <a:srgbClr val="595959"/>
              </a:solidFill>
              <a:effectLst/>
              <a:latin typeface="Nuacht Serif Text"/>
            </a:endParaRPr>
          </a:p>
          <a:p>
            <a:pPr algn="l"/>
            <a:r>
              <a:rPr lang="en-GB" sz="2000" i="0" dirty="0">
                <a:solidFill>
                  <a:srgbClr val="595959"/>
                </a:solidFill>
                <a:effectLst/>
                <a:latin typeface="Nuacht Serif Text"/>
              </a:rPr>
              <a:t> Πριν από την πανδημία COVID-19, η Belle's Kitchen λειτουργούσε 7 ημέρες την εβδομάδα με το προσωπικό και τη διοίκηση να εργάζονται πολλές ώρες, με υψηλά γενικά έξοδα μισθών, καυσίμων και προμηθειών. </a:t>
            </a: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2138" name="Picture 2137" descr="Text, letter&#10;&#10;Description automatically generated">
            <a:extLst>
              <a:ext uri="{FF2B5EF4-FFF2-40B4-BE49-F238E27FC236}">
                <a16:creationId xmlns:a16="http://schemas.microsoft.com/office/drawing/2014/main" id="{39E6D030-A7B1-936F-3FDE-D3222148345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r="5468"/>
          <a:stretch/>
        </p:blipFill>
        <p:spPr bwMode="auto">
          <a:xfrm>
            <a:off x="277946" y="2616904"/>
            <a:ext cx="3094566" cy="1472635"/>
          </a:xfrm>
          <a:prstGeom prst="rect">
            <a:avLst/>
          </a:prstGeom>
          <a:ln>
            <a:noFill/>
          </a:ln>
          <a:extLst>
            <a:ext uri="{53640926-AAD7-44D8-BBD7-CCE9431645EC}">
              <a14:shadowObscured xmlns:a14="http://schemas.microsoft.com/office/drawing/2010/main"/>
            </a:ext>
          </a:extLst>
        </p:spPr>
      </p:pic>
      <p:pic>
        <p:nvPicPr>
          <p:cNvPr id="2140" name="Picture 2139" descr="Hand sanitizer and masks">
            <a:extLst>
              <a:ext uri="{FF2B5EF4-FFF2-40B4-BE49-F238E27FC236}">
                <a16:creationId xmlns:a16="http://schemas.microsoft.com/office/drawing/2014/main" id="{022AB700-463B-6876-512F-20597248C0B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3650459" cy="2434850"/>
          </a:xfrm>
          <a:prstGeom prst="rect">
            <a:avLst/>
          </a:prstGeom>
        </p:spPr>
      </p:pic>
      <p:sp>
        <p:nvSpPr>
          <p:cNvPr id="2142" name="TextBox 2141">
            <a:extLst>
              <a:ext uri="{FF2B5EF4-FFF2-40B4-BE49-F238E27FC236}">
                <a16:creationId xmlns:a16="http://schemas.microsoft.com/office/drawing/2014/main" id="{89D35896-218D-8727-ABBB-3486C509BBC9}"/>
              </a:ext>
            </a:extLst>
          </p:cNvPr>
          <p:cNvSpPr txBox="1"/>
          <p:nvPr/>
        </p:nvSpPr>
        <p:spPr>
          <a:xfrm>
            <a:off x="228313" y="4584885"/>
            <a:ext cx="3291071" cy="830997"/>
          </a:xfrm>
          <a:prstGeom prst="rect">
            <a:avLst/>
          </a:prstGeom>
          <a:noFill/>
        </p:spPr>
        <p:txBody>
          <a:bodyPr wrap="square">
            <a:spAutoFit/>
          </a:bodyPr>
          <a:lstStyle/>
          <a:p>
            <a:r>
              <a:rPr lang="en-US" sz="2400" b="1" dirty="0">
                <a:solidFill>
                  <a:schemeClr val="bg1"/>
                </a:solidFill>
              </a:rPr>
              <a:t>Έτσι μοιάζει η ανθεκτικότητα .....</a:t>
            </a:r>
          </a:p>
        </p:txBody>
      </p:sp>
    </p:spTree>
    <p:extLst>
      <p:ext uri="{BB962C8B-B14F-4D97-AF65-F5344CB8AC3E}">
        <p14:creationId xmlns:p14="http://schemas.microsoft.com/office/powerpoint/2010/main" val="1406472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1099629"/>
            <a:ext cx="3291071" cy="4658741"/>
          </a:xfrm>
        </p:spPr>
        <p:txBody>
          <a:bodyPr>
            <a:normAutofit fontScale="92500" lnSpcReduction="10000"/>
          </a:bodyPr>
          <a:lstStyle/>
          <a:p>
            <a:endParaRPr lang="en-US" dirty="0"/>
          </a:p>
          <a:p>
            <a:endParaRPr lang="en-US" dirty="0"/>
          </a:p>
          <a:p>
            <a:endParaRPr lang="en-US" dirty="0"/>
          </a:p>
          <a:p>
            <a:endParaRPr lang="en-US" dirty="0"/>
          </a:p>
          <a:p>
            <a:endParaRPr lang="en-US" dirty="0"/>
          </a:p>
          <a:p>
            <a:endParaRPr lang="en-US" dirty="0"/>
          </a:p>
          <a:p>
            <a:endParaRPr lang="en-US" dirty="0"/>
          </a:p>
          <a:p>
            <a:r>
              <a:rPr lang="en-US" sz="2600" b="1" dirty="0">
                <a:solidFill>
                  <a:schemeClr val="bg1"/>
                </a:solidFill>
              </a:rPr>
              <a:t>Έτσι μοιάζει η ανθεκτικότητα .....</a:t>
            </a:r>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2138" name="Picture 2137" descr="Text, letter&#10;&#10;Description automatically generated">
            <a:extLst>
              <a:ext uri="{FF2B5EF4-FFF2-40B4-BE49-F238E27FC236}">
                <a16:creationId xmlns:a16="http://schemas.microsoft.com/office/drawing/2014/main" id="{39E6D030-A7B1-936F-3FDE-D32221483459}"/>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r="5468"/>
          <a:stretch/>
        </p:blipFill>
        <p:spPr bwMode="auto">
          <a:xfrm>
            <a:off x="277946" y="2616904"/>
            <a:ext cx="3094566" cy="1472635"/>
          </a:xfrm>
          <a:prstGeom prst="rect">
            <a:avLst/>
          </a:prstGeom>
          <a:ln>
            <a:noFill/>
          </a:ln>
          <a:extLst>
            <a:ext uri="{53640926-AAD7-44D8-BBD7-CCE9431645EC}">
              <a14:shadowObscured xmlns:a14="http://schemas.microsoft.com/office/drawing/2010/main"/>
            </a:ext>
          </a:extLst>
        </p:spPr>
      </p:pic>
      <p:pic>
        <p:nvPicPr>
          <p:cNvPr id="2140" name="Picture 2139" descr="Hand sanitizer and masks">
            <a:extLst>
              <a:ext uri="{FF2B5EF4-FFF2-40B4-BE49-F238E27FC236}">
                <a16:creationId xmlns:a16="http://schemas.microsoft.com/office/drawing/2014/main" id="{022AB700-463B-6876-512F-20597248C0B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3650459" cy="2434850"/>
          </a:xfrm>
          <a:prstGeom prst="rect">
            <a:avLst/>
          </a:prstGeom>
        </p:spPr>
      </p:pic>
      <p:sp>
        <p:nvSpPr>
          <p:cNvPr id="5" name="TextBox 4">
            <a:extLst>
              <a:ext uri="{FF2B5EF4-FFF2-40B4-BE49-F238E27FC236}">
                <a16:creationId xmlns:a16="http://schemas.microsoft.com/office/drawing/2014/main" id="{E791BC06-F5C9-F957-7DDD-52038BFE17FB}"/>
              </a:ext>
            </a:extLst>
          </p:cNvPr>
          <p:cNvSpPr txBox="1"/>
          <p:nvPr/>
        </p:nvSpPr>
        <p:spPr>
          <a:xfrm>
            <a:off x="4080243" y="452183"/>
            <a:ext cx="7626203" cy="5632311"/>
          </a:xfrm>
          <a:prstGeom prst="rect">
            <a:avLst/>
          </a:prstGeom>
          <a:noFill/>
        </p:spPr>
        <p:txBody>
          <a:bodyPr wrap="square">
            <a:spAutoFit/>
          </a:bodyPr>
          <a:lstStyle/>
          <a:p>
            <a:r>
              <a:rPr lang="en-IE" dirty="0">
                <a:solidFill>
                  <a:srgbClr val="595959"/>
                </a:solidFill>
                <a:effectLst/>
                <a:latin typeface="Calibri" panose="020F0502020204030204" pitchFamily="34" charset="0"/>
                <a:ea typeface="Calibri" panose="020F0502020204030204" pitchFamily="34" charset="0"/>
              </a:rPr>
              <a:t>Η Belle's Kitchen χρησιμοποίησε το κλείδωμα του COVID-19 ως ευκαιρία για να κάνει ένα βήμα πίσω και να επανεκτιμήσει το επιχειρηματικό της μοντέλο και τον τρόπο λειτουργίας της. Αποφασίστηκε να αναπτυχθεί ένα νέο και πιο έξυπνο επιχειρηματικό μοντέλο που θα επέτρεπε καλύτερη ισορροπία μεταξύ επαγγελματικής και προσωπικής ζωής.</a:t>
            </a:r>
          </a:p>
          <a:p>
            <a:endParaRPr lang="en-IE" dirty="0">
              <a:solidFill>
                <a:srgbClr val="595959"/>
              </a:solidFill>
              <a:latin typeface="Calibri" panose="020F0502020204030204" pitchFamily="34" charset="0"/>
            </a:endParaRPr>
          </a:p>
          <a:p>
            <a:r>
              <a:rPr lang="en-US"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Το σημαντικό είναι ότι η Belle's Kitchen έπρεπε να βρει έναν τρόπο να συνεχίσει να λειτουργεί την επιχείρησή της κατά τη διάρκεια ενός κλειδώματος. </a:t>
            </a:r>
            <a:r>
              <a:rPr lang="en-GB"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Ο Ronnie Blake, ιδιοκτήτης και επικεφαλής σεφ, εντόπισε επίσης μια νέα ευκαιρία με βάση την ανακάλυψη ότι η Co. Donegal, είναι ένας από τους μεγαλύτερους καταναλωτές γλυκών, κέικ και ζαχαρωτών στην Ιρλανδία!  Προκειμένου να εξυπηρετήσει αυτή την αγορά, ο Ronnie εκμεταλλεύτηκε την ευκαιρία που του παρείχε ο αποκλεισμός για να βελτιώσει τις δεξιότητές του στη ζαχαροπλαστική. Η Belle's Kitchen σύντομα απέκτησε φήμη για την παραγωγή υπέροχων ψωμιών και γλυκών από προζύμι, τα οποία πωλούν τώρα στο πρόσφατα ανοιχτό αρτοποιείο τους), καθώς και ως προμηθευτής αυτών των αρτοσκευασμάτων σε άλλες επιχειρήσεις στο Ντόνεγκαλ. </a:t>
            </a:r>
            <a:r>
              <a:rPr lang="en-US"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Ξεκίνησαν επίσης μια υπηρεσία takeaway, την οποία συνεχίζουν τώρα να παρέχουν παράλληλα με την υπηρεσία sit-in. </a:t>
            </a:r>
            <a:endParaRPr lang="en-IE" dirty="0">
              <a:solidFill>
                <a:srgbClr val="595959"/>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IE" dirty="0"/>
          </a:p>
        </p:txBody>
      </p:sp>
    </p:spTree>
    <p:extLst>
      <p:ext uri="{BB962C8B-B14F-4D97-AF65-F5344CB8AC3E}">
        <p14:creationId xmlns:p14="http://schemas.microsoft.com/office/powerpoint/2010/main" val="40207227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1099629"/>
            <a:ext cx="3291071" cy="4658741"/>
          </a:xfrm>
        </p:spPr>
        <p:txBody>
          <a:bodyPr>
            <a:normAutofit/>
          </a:bodyPr>
          <a:lstStyle/>
          <a:p>
            <a:r>
              <a:rPr lang="en-US" sz="2600" b="1" dirty="0">
                <a:solidFill>
                  <a:schemeClr val="bg1"/>
                </a:solidFill>
              </a:rPr>
              <a:t>Η ανθεκτικότητα απαιτείται επίσης όταν η επιχείρηση είναι αφερέγγυα. Αποτελεί επιλογή η ανάκαμψη; </a:t>
            </a:r>
          </a:p>
          <a:p>
            <a:endParaRPr lang="en-US" sz="2600" b="1" dirty="0">
              <a:solidFill>
                <a:schemeClr val="bg1"/>
              </a:solidFill>
            </a:endParaRPr>
          </a:p>
          <a:p>
            <a:r>
              <a:rPr lang="en-US" sz="2600" b="1" dirty="0">
                <a:solidFill>
                  <a:schemeClr val="bg1"/>
                </a:solidFill>
              </a:rPr>
              <a:t>Για την PESCANOVA ήταν.</a:t>
            </a:r>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sp>
        <p:nvSpPr>
          <p:cNvPr id="5" name="TextBox 4">
            <a:extLst>
              <a:ext uri="{FF2B5EF4-FFF2-40B4-BE49-F238E27FC236}">
                <a16:creationId xmlns:a16="http://schemas.microsoft.com/office/drawing/2014/main" id="{E791BC06-F5C9-F957-7DDD-52038BFE17FB}"/>
              </a:ext>
            </a:extLst>
          </p:cNvPr>
          <p:cNvSpPr txBox="1"/>
          <p:nvPr/>
        </p:nvSpPr>
        <p:spPr>
          <a:xfrm>
            <a:off x="3875403" y="16248"/>
            <a:ext cx="7626203" cy="6155531"/>
          </a:xfrm>
          <a:prstGeom prst="rect">
            <a:avLst/>
          </a:prstGeom>
          <a:noFill/>
        </p:spPr>
        <p:txBody>
          <a:bodyPr wrap="square">
            <a:spAutoFit/>
          </a:bodyPr>
          <a:lstStyle/>
          <a:p>
            <a:pPr algn="l"/>
            <a:r>
              <a:rPr lang="en-GB" sz="2200" b="1" i="0" dirty="0">
                <a:solidFill>
                  <a:srgbClr val="262626"/>
                </a:solidFill>
                <a:effectLst/>
              </a:rPr>
              <a:t>ΕΤΑΙΡΕΙΑ </a:t>
            </a:r>
            <a:r>
              <a:rPr lang="en-GB" sz="2200" b="1" i="0" dirty="0" err="1">
                <a:solidFill>
                  <a:srgbClr val="262626"/>
                </a:solidFill>
                <a:effectLst/>
              </a:rPr>
              <a:t>Pescanova</a:t>
            </a:r>
            <a:endParaRPr lang="en-GB" sz="2200" b="1" i="0" dirty="0">
              <a:solidFill>
                <a:srgbClr val="262626"/>
              </a:solidFill>
              <a:effectLst/>
            </a:endParaRPr>
          </a:p>
          <a:p>
            <a:pPr algn="l"/>
            <a:r>
              <a:rPr lang="en-GB" sz="2200" b="1" i="0" dirty="0">
                <a:solidFill>
                  <a:srgbClr val="262626"/>
                </a:solidFill>
                <a:effectLst/>
              </a:rPr>
              <a:t>Πρόκληση: Αφερεγγυότητα</a:t>
            </a:r>
          </a:p>
          <a:p>
            <a:pPr algn="l"/>
            <a:r>
              <a:rPr lang="en-GB" sz="2200" b="1" i="0" dirty="0">
                <a:solidFill>
                  <a:srgbClr val="262626"/>
                </a:solidFill>
                <a:effectLst/>
              </a:rPr>
              <a:t>Τακτική: Αναδιάρθρωση</a:t>
            </a:r>
          </a:p>
          <a:p>
            <a:pPr algn="l"/>
            <a:endParaRPr lang="en-GB" sz="2200" b="0" i="0" dirty="0">
              <a:solidFill>
                <a:srgbClr val="262626"/>
              </a:solidFill>
              <a:effectLst/>
            </a:endParaRPr>
          </a:p>
          <a:p>
            <a:pPr algn="l"/>
            <a:r>
              <a:rPr lang="en-GB" b="0" i="0" dirty="0">
                <a:solidFill>
                  <a:srgbClr val="262626"/>
                </a:solidFill>
                <a:effectLst/>
              </a:rPr>
              <a:t>Ποτέ δεν είναι αργά για να αλλάξετε στρατηγική. Η </a:t>
            </a:r>
            <a:r>
              <a:rPr lang="en-GB" b="0" i="0" dirty="0" err="1">
                <a:solidFill>
                  <a:srgbClr val="262626"/>
                </a:solidFill>
                <a:effectLst/>
              </a:rPr>
              <a:t>Pescanova</a:t>
            </a:r>
            <a:r>
              <a:rPr lang="en-GB" b="0" i="0" dirty="0">
                <a:solidFill>
                  <a:srgbClr val="262626"/>
                </a:solidFill>
                <a:effectLst/>
              </a:rPr>
              <a:t>, η μεγαλύτερη αλιευτική εταιρεία της Ευρώπης με περισσότερους από 12.000 εργαζόμενους σε 27 χώρες, ολισθαίνει προς τη λήθη όταν, το 2013, υπέβαλε αίτηση πτώχευσης. Επτά πιστωτές προσέλαβαν το δικηγορικό γραφείο Freshfields για να αποτρέψουν την εκκαθάριση. Οι νομικοί αετοί χρησιμοποίησαν την αφερεγγυότητα για να αναδιαρθρώσουν το χρέος, να δημιουργήσουν μια νέα εταιρεία, με την ονομασία </a:t>
            </a:r>
            <a:r>
              <a:rPr lang="en-GB" b="0" i="0" dirty="0">
                <a:solidFill>
                  <a:srgbClr val="262626"/>
                </a:solidFill>
                <a:effectLst/>
                <a:hlinkClick r:id="rId2"/>
              </a:rPr>
              <a:t>Nueva </a:t>
            </a:r>
            <a:r>
              <a:rPr lang="en-GB" b="0" i="0" dirty="0" err="1">
                <a:solidFill>
                  <a:srgbClr val="262626"/>
                </a:solidFill>
                <a:effectLst/>
                <a:hlinkClick r:id="rId2"/>
              </a:rPr>
              <a:t>Pescanova</a:t>
            </a:r>
            <a:r>
              <a:rPr lang="en-GB" b="0" i="0" dirty="0">
                <a:solidFill>
                  <a:srgbClr val="262626"/>
                </a:solidFill>
                <a:effectLst/>
              </a:rPr>
              <a:t>, και να αντλήσουν κεφάλαια δίνοντας στους πιστωτές ένα μεγάλο μερίδιο της νέας οντότητας. Τώρα η Nueva </a:t>
            </a:r>
            <a:r>
              <a:rPr lang="en-GB" b="0" i="0" dirty="0" err="1">
                <a:solidFill>
                  <a:srgbClr val="262626"/>
                </a:solidFill>
                <a:effectLst/>
              </a:rPr>
              <a:t>Pescanova </a:t>
            </a:r>
            <a:r>
              <a:rPr lang="en-GB" b="0" i="0" dirty="0">
                <a:solidFill>
                  <a:srgbClr val="262626"/>
                </a:solidFill>
                <a:effectLst/>
              </a:rPr>
              <a:t>είναι βιώσιμη και μια κορυφαία πολυεθνική στον τομέα της εμπορίας θαλασσινών. Είναι μία από τις λίγες εταιρείες που είναι παρούσες σε ολόκληρη την αλυσίδα αξίας: αλιεύουμε, καλλιεργούμε, μεταποιούμε και εμπορευόμαστε περισσότερα από 70 είδη ψαριών και θαλασσινών σε 80 χώρες σε όλο τον κόσμο. Το σχέδιο κέρδισε </a:t>
            </a:r>
            <a:r>
              <a:rPr lang="en-GB" b="0" i="0" dirty="0">
                <a:solidFill>
                  <a:srgbClr val="262626"/>
                </a:solidFill>
                <a:effectLst/>
                <a:hlinkClick r:id="rId3"/>
              </a:rPr>
              <a:t>το βραβείο της Turnaround Management Association </a:t>
            </a:r>
            <a:r>
              <a:rPr lang="en-GB" b="0" i="0" dirty="0">
                <a:solidFill>
                  <a:srgbClr val="262626"/>
                </a:solidFill>
                <a:effectLst/>
              </a:rPr>
              <a:t>για την εξυγίανση της χρονιάς.</a:t>
            </a:r>
          </a:p>
          <a:p>
            <a:pPr algn="l"/>
            <a:endParaRPr lang="en-GB" dirty="0">
              <a:solidFill>
                <a:srgbClr val="262626"/>
              </a:solidFill>
            </a:endParaRPr>
          </a:p>
          <a:p>
            <a:pPr algn="l"/>
            <a:r>
              <a:rPr lang="en-GB" b="0" i="0" dirty="0">
                <a:solidFill>
                  <a:schemeClr val="bg2"/>
                </a:solidFill>
                <a:effectLst/>
                <a:highlight>
                  <a:srgbClr val="F16924"/>
                </a:highlight>
              </a:rPr>
              <a:t>ΔΙΑΒΑΣΤΕ ΠΕΡΙΣΣΟΤΕΡΑ </a:t>
            </a:r>
            <a:r>
              <a:rPr lang="en-IE" dirty="0" err="1">
                <a:hlinkClick r:id="rId4"/>
              </a:rPr>
              <a:t>Pescanova </a:t>
            </a:r>
            <a:r>
              <a:rPr lang="en-IE" dirty="0">
                <a:hlinkClick r:id="rId4"/>
              </a:rPr>
              <a:t>- Wikipedia</a:t>
            </a:r>
            <a:endParaRPr lang="en-GB" b="0" i="0" dirty="0">
              <a:solidFill>
                <a:srgbClr val="262626"/>
              </a:solidFill>
              <a:effectLst/>
            </a:endParaRPr>
          </a:p>
          <a:p>
            <a:endParaRPr lang="en-IE" dirty="0"/>
          </a:p>
        </p:txBody>
      </p:sp>
      <p:pic>
        <p:nvPicPr>
          <p:cNvPr id="2129" name="Picture 2128">
            <a:extLst>
              <a:ext uri="{FF2B5EF4-FFF2-40B4-BE49-F238E27FC236}">
                <a16:creationId xmlns:a16="http://schemas.microsoft.com/office/drawing/2014/main" id="{E3B3810F-130D-C4AC-5913-89140CF90B78}"/>
              </a:ext>
            </a:extLst>
          </p:cNvPr>
          <p:cNvPicPr>
            <a:picLocks noChangeAspect="1"/>
          </p:cNvPicPr>
          <p:nvPr/>
        </p:nvPicPr>
        <p:blipFill>
          <a:blip r:embed="rId5"/>
          <a:stretch>
            <a:fillRect/>
          </a:stretch>
        </p:blipFill>
        <p:spPr>
          <a:xfrm>
            <a:off x="316900" y="4260756"/>
            <a:ext cx="2995224" cy="1356326"/>
          </a:xfrm>
          <a:prstGeom prst="rect">
            <a:avLst/>
          </a:prstGeom>
        </p:spPr>
      </p:pic>
    </p:spTree>
    <p:extLst>
      <p:ext uri="{BB962C8B-B14F-4D97-AF65-F5344CB8AC3E}">
        <p14:creationId xmlns:p14="http://schemas.microsoft.com/office/powerpoint/2010/main" val="11719549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19421" cy="1115727"/>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5 </a:t>
            </a:r>
            <a:r>
              <a:rPr lang="el-GR" sz="4000" dirty="0">
                <a:solidFill>
                  <a:schemeClr val="bg1"/>
                </a:solidFill>
              </a:rPr>
              <a:t>   	</a:t>
            </a:r>
            <a:r>
              <a:rPr lang="en-US" dirty="0" err="1">
                <a:solidFill>
                  <a:schemeClr val="bg1"/>
                </a:solidFill>
              </a:rPr>
              <a:t>Εν</a:t>
            </a:r>
            <a:r>
              <a:rPr lang="en-US" dirty="0">
                <a:solidFill>
                  <a:schemeClr val="bg1"/>
                </a:solidFill>
              </a:rPr>
              <a:t>αλλακτική άποψη για τη </a:t>
            </a:r>
            <a:r>
              <a:rPr lang="en-IE" dirty="0">
                <a:solidFill>
                  <a:schemeClr val="bg1"/>
                </a:solidFill>
              </a:rPr>
              <a:t>μάθηση και </a:t>
            </a:r>
            <a:r>
              <a:rPr lang="en-IE" dirty="0" err="1">
                <a:solidFill>
                  <a:schemeClr val="bg1"/>
                </a:solidFill>
              </a:rPr>
              <a:t>την</a:t>
            </a:r>
            <a:r>
              <a:rPr lang="en-IE" dirty="0">
                <a:solidFill>
                  <a:schemeClr val="bg1"/>
                </a:solidFill>
              </a:rPr>
              <a:t> </a:t>
            </a:r>
            <a:r>
              <a:rPr lang="el-GR" dirty="0">
                <a:solidFill>
                  <a:schemeClr val="bg1"/>
                </a:solidFill>
              </a:rPr>
              <a:t>     	</a:t>
            </a:r>
            <a:r>
              <a:rPr lang="en-IE" dirty="0">
                <a:solidFill>
                  <a:schemeClr val="bg1"/>
                </a:solidFill>
              </a:rPr>
              <a:t>α</a:t>
            </a:r>
            <a:r>
              <a:rPr lang="en-IE" dirty="0" err="1">
                <a:solidFill>
                  <a:schemeClr val="bg1"/>
                </a:solidFill>
              </a:rPr>
              <a:t>νθεκτικότητ</a:t>
            </a:r>
            <a:r>
              <a:rPr lang="en-IE" dirty="0">
                <a:solidFill>
                  <a:schemeClr val="bg1"/>
                </a:solidFill>
              </a:rPr>
              <a:t>α </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092932" y="1767267"/>
            <a:ext cx="6778175" cy="4503942"/>
          </a:xfrm>
        </p:spPr>
        <p:txBody>
          <a:bodyPr>
            <a:normAutofit/>
          </a:bodyPr>
          <a:lstStyle/>
          <a:p>
            <a:pPr marL="12700" indent="-12700" algn="just">
              <a:lnSpc>
                <a:spcPct val="110000"/>
              </a:lnSpc>
            </a:pPr>
            <a:r>
              <a:rPr lang="en-GB" b="0" i="0" dirty="0">
                <a:effectLst/>
              </a:rPr>
              <a:t>Ο συγγραφέας Nassim Nicholas </a:t>
            </a:r>
            <a:r>
              <a:rPr lang="en-GB" b="0" i="0" dirty="0" err="1">
                <a:effectLst/>
              </a:rPr>
              <a:t>Taleb </a:t>
            </a:r>
            <a:r>
              <a:rPr lang="en-GB" b="0" i="0" dirty="0">
                <a:effectLst/>
              </a:rPr>
              <a:t>ρίχνει ένα ενδιαφέρον φως σε αυτό το θέμα στο βιβλίο του </a:t>
            </a:r>
            <a:r>
              <a:rPr lang="en-GB" b="1" i="1" u="none" strike="noStrike" dirty="0">
                <a:solidFill>
                  <a:srgbClr val="B41F7A"/>
                </a:solidFill>
                <a:effectLst/>
                <a:hlinkClick r:id="rId3">
                  <a:extLst>
                    <a:ext uri="{A12FA001-AC4F-418D-AE19-62706E023703}">
                      <ahyp:hlinkClr xmlns:ahyp="http://schemas.microsoft.com/office/drawing/2018/hyperlinkcolor" val="tx"/>
                    </a:ext>
                  </a:extLst>
                </a:hlinkClick>
              </a:rPr>
              <a:t>Antifragile: Things that Gain from Disorder</a:t>
            </a:r>
            <a:r>
              <a:rPr lang="en-GB" b="0" i="1" dirty="0">
                <a:solidFill>
                  <a:srgbClr val="2D2D2D"/>
                </a:solidFill>
                <a:effectLst/>
              </a:rPr>
              <a:t>. </a:t>
            </a:r>
            <a:r>
              <a:rPr lang="en-GB" b="0" i="0" dirty="0">
                <a:effectLst/>
              </a:rPr>
              <a:t>Σε αυτό, προτείνει ότι οι οργανισμοί δεν θα πρέπει να στοχεύουν στην ανάπτυξη ανθεκτικότητας στις κρίσεις. Γιατί; Επειδή το να είσαι ανθεκτικός σημαίνει απλώς να επιστρέφεις εκεί που ήσουν πριν. Αντ' αυτού, οι οργανισμοί θα πρέπει να επιδιώκουν να είναι "αντιεφθαρτοί" και να βγαίνουν από την κρίση </a:t>
            </a:r>
            <a:r>
              <a:rPr lang="en-GB" b="0" i="1" dirty="0">
                <a:effectLst/>
              </a:rPr>
              <a:t>καλύτερα </a:t>
            </a:r>
            <a:r>
              <a:rPr lang="en-GB" b="0" i="0" dirty="0">
                <a:effectLst/>
              </a:rPr>
              <a:t>από ό,τι όταν μπήκαν.</a:t>
            </a:r>
            <a:endParaRPr lang="en-GB" dirty="0">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pic>
        <p:nvPicPr>
          <p:cNvPr id="21" name="Picture 20">
            <a:extLst>
              <a:ext uri="{FF2B5EF4-FFF2-40B4-BE49-F238E27FC236}">
                <a16:creationId xmlns:a16="http://schemas.microsoft.com/office/drawing/2014/main" id="{019EC385-BD9C-EE0C-DFA3-79CB9A9912A1}"/>
              </a:ext>
            </a:extLst>
          </p:cNvPr>
          <p:cNvPicPr>
            <a:picLocks noChangeAspect="1"/>
          </p:cNvPicPr>
          <p:nvPr/>
        </p:nvPicPr>
        <p:blipFill>
          <a:blip r:embed="rId4"/>
          <a:stretch>
            <a:fillRect/>
          </a:stretch>
        </p:blipFill>
        <p:spPr>
          <a:xfrm>
            <a:off x="9171836" y="1687072"/>
            <a:ext cx="2745916" cy="4174603"/>
          </a:xfrm>
          <a:prstGeom prst="rect">
            <a:avLst/>
          </a:prstGeom>
        </p:spPr>
      </p:pic>
    </p:spTree>
    <p:extLst>
      <p:ext uri="{BB962C8B-B14F-4D97-AF65-F5344CB8AC3E}">
        <p14:creationId xmlns:p14="http://schemas.microsoft.com/office/powerpoint/2010/main" val="35169572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14670" y="1087961"/>
            <a:ext cx="4474068" cy="3423588"/>
          </a:xfrm>
        </p:spPr>
        <p:txBody>
          <a:bodyPr>
            <a:normAutofit/>
          </a:bodyPr>
          <a:lstStyle/>
          <a:p>
            <a:r>
              <a:rPr lang="en-US" sz="4000" dirty="0"/>
              <a:t>ΤΟ ΧΡΟΝΟΔΙ</a:t>
            </a:r>
            <a:r>
              <a:rPr lang="el-GR" sz="4000" dirty="0"/>
              <a:t>Α</a:t>
            </a:r>
            <a:r>
              <a:rPr lang="en-US" sz="4000" dirty="0"/>
              <a:t>ΓΡΑΜΜΑ ΜΙΑΣ ΕΠΙΧΕΙΡΗΜΑΤΙΚ</a:t>
            </a:r>
            <a:r>
              <a:rPr lang="el-GR" sz="4000" dirty="0"/>
              <a:t>Η</a:t>
            </a:r>
            <a:r>
              <a:rPr lang="en-US" sz="4000" dirty="0"/>
              <a:t>Σ ΚΡ</a:t>
            </a:r>
            <a:r>
              <a:rPr lang="el-GR" sz="4000" dirty="0"/>
              <a:t>Ι</a:t>
            </a:r>
            <a:r>
              <a:rPr lang="en-US" sz="4000" dirty="0"/>
              <a:t>ΣΗΣ</a:t>
            </a:r>
          </a:p>
        </p:txBody>
      </p:sp>
      <p:sp>
        <p:nvSpPr>
          <p:cNvPr id="3" name="Text Placeholder 2">
            <a:extLst>
              <a:ext uri="{FF2B5EF4-FFF2-40B4-BE49-F238E27FC236}">
                <a16:creationId xmlns:a16="http://schemas.microsoft.com/office/drawing/2014/main" id="{C64FC772-7FB9-DFE3-9540-0AEF9721728B}"/>
              </a:ext>
            </a:extLst>
          </p:cNvPr>
          <p:cNvSpPr>
            <a:spLocks noGrp="1"/>
          </p:cNvSpPr>
          <p:nvPr>
            <p:ph type="body" sz="quarter" idx="17"/>
          </p:nvPr>
        </p:nvSpPr>
        <p:spPr/>
        <p:txBody>
          <a:bodyPr/>
          <a:lstStyle/>
          <a:p>
            <a:r>
              <a:rPr lang="en-US" dirty="0"/>
              <a:t>03</a:t>
            </a:r>
          </a:p>
        </p:txBody>
      </p:sp>
    </p:spTree>
    <p:extLst>
      <p:ext uri="{BB962C8B-B14F-4D97-AF65-F5344CB8AC3E}">
        <p14:creationId xmlns:p14="http://schemas.microsoft.com/office/powerpoint/2010/main" val="18341814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2E46B46-CF68-61F4-1C8A-00F03B9451AE}"/>
              </a:ext>
            </a:extLst>
          </p:cNvPr>
          <p:cNvSpPr/>
          <p:nvPr/>
        </p:nvSpPr>
        <p:spPr>
          <a:xfrm>
            <a:off x="0"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1C458E62-4EE5-2ECA-EB50-22B64C3C9E80}"/>
              </a:ext>
            </a:extLst>
          </p:cNvPr>
          <p:cNvSpPr>
            <a:spLocks noGrp="1"/>
          </p:cNvSpPr>
          <p:nvPr>
            <p:ph type="body" sz="quarter" idx="18"/>
          </p:nvPr>
        </p:nvSpPr>
        <p:spPr>
          <a:xfrm>
            <a:off x="350261" y="2233730"/>
            <a:ext cx="3033159" cy="4172556"/>
          </a:xfrm>
        </p:spPr>
        <p:txBody>
          <a:bodyPr>
            <a:normAutofit fontScale="92500" lnSpcReduction="10000"/>
          </a:bodyPr>
          <a:lstStyle/>
          <a:p>
            <a:r>
              <a:rPr lang="en-US" b="1" dirty="0">
                <a:solidFill>
                  <a:schemeClr val="bg1"/>
                </a:solidFill>
              </a:rPr>
              <a:t>Βασικά προβλήματα:</a:t>
            </a:r>
          </a:p>
          <a:p>
            <a:pPr marL="342900" indent="-342900">
              <a:buClr>
                <a:srgbClr val="EDA13E"/>
              </a:buClr>
              <a:buFont typeface="Arial" panose="020B0604020202020204" pitchFamily="34" charset="0"/>
              <a:buChar char="•"/>
            </a:pPr>
            <a:r>
              <a:rPr lang="en-US" sz="2200" dirty="0">
                <a:solidFill>
                  <a:schemeClr val="bg1"/>
                </a:solidFill>
              </a:rPr>
              <a:t>Οι ηγέτες των επιχειρήσεων αντιδρούν με μεγάλη χρονική καθυστέρηση</a:t>
            </a:r>
          </a:p>
          <a:p>
            <a:pPr marL="342900" indent="-342900">
              <a:buClr>
                <a:srgbClr val="EDA13E"/>
              </a:buClr>
              <a:buFont typeface="Arial" panose="020B0604020202020204" pitchFamily="34" charset="0"/>
              <a:buChar char="•"/>
            </a:pPr>
            <a:r>
              <a:rPr lang="en-US" sz="2200" dirty="0">
                <a:solidFill>
                  <a:schemeClr val="bg1"/>
                </a:solidFill>
              </a:rPr>
              <a:t>Εάν οι ηγέτες υποδηλώνουν κρίση, τα αίτια της κρίσης έχουν συχνά ήδη επιδράσει πλήρως (και δεν μπορούν να διορθωθούν βραχυπρόθεσμα).</a:t>
            </a:r>
          </a:p>
          <a:p>
            <a:pPr marL="342900" indent="-342900">
              <a:buClr>
                <a:srgbClr val="EDA13E"/>
              </a:buClr>
              <a:buFont typeface="Arial" panose="020B0604020202020204" pitchFamily="34" charset="0"/>
              <a:buChar char="•"/>
            </a:pPr>
            <a:r>
              <a:rPr lang="en-US" sz="2200" dirty="0">
                <a:solidFill>
                  <a:schemeClr val="bg1"/>
                </a:solidFill>
              </a:rPr>
              <a:t>Απαιτείται μόνιμη ανάλυση κινδύνου</a:t>
            </a:r>
          </a:p>
          <a:p>
            <a:endParaRPr lang="en-US" sz="2200" dirty="0">
              <a:solidFill>
                <a:schemeClr val="bg1"/>
              </a:solidFill>
            </a:endParaRPr>
          </a:p>
          <a:p>
            <a:endParaRPr lang="en-US" dirty="0">
              <a:solidFill>
                <a:schemeClr val="bg1"/>
              </a:solidFill>
            </a:endParaRP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a:xfrm>
            <a:off x="392411" y="78081"/>
            <a:ext cx="3025497" cy="2079165"/>
          </a:xfrm>
        </p:spPr>
        <p:txBody>
          <a:bodyPr>
            <a:normAutofit/>
          </a:bodyPr>
          <a:lstStyle/>
          <a:p>
            <a:pPr>
              <a:lnSpc>
                <a:spcPts val="3620"/>
              </a:lnSpc>
            </a:pPr>
            <a:r>
              <a:rPr lang="en-GB" dirty="0">
                <a:solidFill>
                  <a:schemeClr val="bg1"/>
                </a:solidFill>
              </a:rPr>
              <a:t>Οι κρίσεις σπάνια (ποτέ) έρχονται μέσα σε μια νύχτα.</a:t>
            </a:r>
          </a:p>
          <a:p>
            <a:pPr>
              <a:lnSpc>
                <a:spcPts val="3620"/>
              </a:lnSpc>
            </a:pPr>
            <a:endParaRPr lang="en-GB" dirty="0"/>
          </a:p>
        </p:txBody>
      </p:sp>
      <p:graphicFrame>
        <p:nvGraphicFramePr>
          <p:cNvPr id="4" name="Diagramm 3">
            <a:extLst>
              <a:ext uri="{FF2B5EF4-FFF2-40B4-BE49-F238E27FC236}">
                <a16:creationId xmlns:a16="http://schemas.microsoft.com/office/drawing/2014/main" id="{472ACC91-BE8E-44C4-B923-7D5F1489EFD6}"/>
              </a:ext>
            </a:extLst>
          </p:cNvPr>
          <p:cNvGraphicFramePr/>
          <p:nvPr>
            <p:extLst>
              <p:ext uri="{D42A27DB-BD31-4B8C-83A1-F6EECF244321}">
                <p14:modId xmlns:p14="http://schemas.microsoft.com/office/powerpoint/2010/main" val="1998999347"/>
              </p:ext>
            </p:extLst>
          </p:nvPr>
        </p:nvGraphicFramePr>
        <p:xfrm>
          <a:off x="3850916" y="2002971"/>
          <a:ext cx="8149584" cy="4135362"/>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id="{40BC27F4-D010-4482-BAAD-34D3A8756294}"/>
              </a:ext>
            </a:extLst>
          </p:cNvPr>
          <p:cNvSpPr/>
          <p:nvPr/>
        </p:nvSpPr>
        <p:spPr>
          <a:xfrm>
            <a:off x="7727456" y="6415424"/>
            <a:ext cx="5614852" cy="260502"/>
          </a:xfrm>
          <a:prstGeom prst="rect">
            <a:avLst/>
          </a:prstGeom>
        </p:spPr>
        <p:txBody>
          <a:bodyPr vert="horz" wrap="square" lIns="81580" tIns="40790" rIns="81580" bIns="40790" rtlCol="0">
            <a:spAutoFit/>
          </a:bodyPr>
          <a:lstStyle/>
          <a:p>
            <a:pPr marL="0" marR="0" lvl="0" indent="0" algn="l" defTabSz="1087636" rtl="0" eaLnBrk="1" fontAlgn="auto" latinLnBrk="0" hangingPunct="1">
              <a:lnSpc>
                <a:spcPts val="1500"/>
              </a:lnSpc>
              <a:spcBef>
                <a:spcPct val="20000"/>
              </a:spcBef>
              <a:spcAft>
                <a:spcPts val="0"/>
              </a:spcAft>
              <a:buClrTx/>
              <a:buSzTx/>
              <a:buFontTx/>
              <a:buNone/>
              <a:tabLst/>
              <a:defRPr/>
            </a:pPr>
            <a:r>
              <a:rPr kumimoji="0" lang="en-GB" sz="1000" b="1" i="0" u="none" strike="noStrike" kern="1200" cap="none" spc="0" normalizeH="0" baseline="0" noProof="0" dirty="0">
                <a:ln>
                  <a:noFill/>
                </a:ln>
                <a:solidFill>
                  <a:srgbClr val="B41F7A"/>
                </a:solidFill>
                <a:effectLst/>
                <a:uLnTx/>
                <a:uFillTx/>
                <a:latin typeface="Calibri Light" panose="020F0302020204030204"/>
                <a:ea typeface="+mn-ea"/>
                <a:cs typeface="+mn-cs"/>
              </a:rPr>
              <a:t>Πηγή: Roland Berger - βάσει ανάλυσης 800 περιπτώσεων αναδιάρθρωσης</a:t>
            </a:r>
          </a:p>
        </p:txBody>
      </p:sp>
      <p:sp>
        <p:nvSpPr>
          <p:cNvPr id="6" name="object 29">
            <a:extLst>
              <a:ext uri="{FF2B5EF4-FFF2-40B4-BE49-F238E27FC236}">
                <a16:creationId xmlns:a16="http://schemas.microsoft.com/office/drawing/2014/main" id="{6DDD553E-2F34-499B-B76A-A3754ECCE186}"/>
              </a:ext>
            </a:extLst>
          </p:cNvPr>
          <p:cNvSpPr/>
          <p:nvPr/>
        </p:nvSpPr>
        <p:spPr>
          <a:xfrm>
            <a:off x="4318462" y="2762054"/>
            <a:ext cx="7258214" cy="2662675"/>
          </a:xfrm>
          <a:custGeom>
            <a:avLst/>
            <a:gdLst/>
            <a:ahLst/>
            <a:cxnLst/>
            <a:rect l="l" t="t" r="r" b="b"/>
            <a:pathLst>
              <a:path w="4752340" h="1823085">
                <a:moveTo>
                  <a:pt x="0" y="1822830"/>
                </a:moveTo>
                <a:lnTo>
                  <a:pt x="62215" y="1822643"/>
                </a:lnTo>
                <a:lnTo>
                  <a:pt x="124273" y="1822081"/>
                </a:lnTo>
                <a:lnTo>
                  <a:pt x="186168" y="1821148"/>
                </a:lnTo>
                <a:lnTo>
                  <a:pt x="247894" y="1819845"/>
                </a:lnTo>
                <a:lnTo>
                  <a:pt x="309447" y="1818173"/>
                </a:lnTo>
                <a:lnTo>
                  <a:pt x="370820" y="1816136"/>
                </a:lnTo>
                <a:lnTo>
                  <a:pt x="432009" y="1813736"/>
                </a:lnTo>
                <a:lnTo>
                  <a:pt x="493009" y="1810973"/>
                </a:lnTo>
                <a:lnTo>
                  <a:pt x="553813" y="1807851"/>
                </a:lnTo>
                <a:lnTo>
                  <a:pt x="614417" y="1804372"/>
                </a:lnTo>
                <a:lnTo>
                  <a:pt x="674816" y="1800537"/>
                </a:lnTo>
                <a:lnTo>
                  <a:pt x="735003" y="1796348"/>
                </a:lnTo>
                <a:lnTo>
                  <a:pt x="794975" y="1791807"/>
                </a:lnTo>
                <a:lnTo>
                  <a:pt x="854725" y="1786918"/>
                </a:lnTo>
                <a:lnTo>
                  <a:pt x="914248" y="1781680"/>
                </a:lnTo>
                <a:lnTo>
                  <a:pt x="973538" y="1776098"/>
                </a:lnTo>
                <a:lnTo>
                  <a:pt x="1032592" y="1770171"/>
                </a:lnTo>
                <a:lnTo>
                  <a:pt x="1091403" y="1763904"/>
                </a:lnTo>
                <a:lnTo>
                  <a:pt x="1149965" y="1757297"/>
                </a:lnTo>
                <a:lnTo>
                  <a:pt x="1208274" y="1750353"/>
                </a:lnTo>
                <a:lnTo>
                  <a:pt x="1266325" y="1743074"/>
                </a:lnTo>
                <a:lnTo>
                  <a:pt x="1324111" y="1735462"/>
                </a:lnTo>
                <a:lnTo>
                  <a:pt x="1381629" y="1727518"/>
                </a:lnTo>
                <a:lnTo>
                  <a:pt x="1438871" y="1719245"/>
                </a:lnTo>
                <a:lnTo>
                  <a:pt x="1495834" y="1710645"/>
                </a:lnTo>
                <a:lnTo>
                  <a:pt x="1552511" y="1701721"/>
                </a:lnTo>
                <a:lnTo>
                  <a:pt x="1608898" y="1692473"/>
                </a:lnTo>
                <a:lnTo>
                  <a:pt x="1664989" y="1682904"/>
                </a:lnTo>
                <a:lnTo>
                  <a:pt x="1720779" y="1673016"/>
                </a:lnTo>
                <a:lnTo>
                  <a:pt x="1776263" y="1662811"/>
                </a:lnTo>
                <a:lnTo>
                  <a:pt x="1831434" y="1652292"/>
                </a:lnTo>
                <a:lnTo>
                  <a:pt x="1886289" y="1641459"/>
                </a:lnTo>
                <a:lnTo>
                  <a:pt x="1940821" y="1630316"/>
                </a:lnTo>
                <a:lnTo>
                  <a:pt x="1995025" y="1618864"/>
                </a:lnTo>
                <a:lnTo>
                  <a:pt x="2048897" y="1607105"/>
                </a:lnTo>
                <a:lnTo>
                  <a:pt x="2102430" y="1595042"/>
                </a:lnTo>
                <a:lnTo>
                  <a:pt x="2155619" y="1582676"/>
                </a:lnTo>
                <a:lnTo>
                  <a:pt x="2208460" y="1570009"/>
                </a:lnTo>
                <a:lnTo>
                  <a:pt x="2260946" y="1557044"/>
                </a:lnTo>
                <a:lnTo>
                  <a:pt x="2313073" y="1543782"/>
                </a:lnTo>
                <a:lnTo>
                  <a:pt x="2364834" y="1530226"/>
                </a:lnTo>
                <a:lnTo>
                  <a:pt x="2416226" y="1516377"/>
                </a:lnTo>
                <a:lnTo>
                  <a:pt x="2467242" y="1502238"/>
                </a:lnTo>
                <a:lnTo>
                  <a:pt x="2517878" y="1487811"/>
                </a:lnTo>
                <a:lnTo>
                  <a:pt x="2568127" y="1473097"/>
                </a:lnTo>
                <a:lnTo>
                  <a:pt x="2617985" y="1458098"/>
                </a:lnTo>
                <a:lnTo>
                  <a:pt x="2667446" y="1442818"/>
                </a:lnTo>
                <a:lnTo>
                  <a:pt x="2716505" y="1427257"/>
                </a:lnTo>
                <a:lnTo>
                  <a:pt x="2765156" y="1411418"/>
                </a:lnTo>
                <a:lnTo>
                  <a:pt x="2813396" y="1395303"/>
                </a:lnTo>
                <a:lnTo>
                  <a:pt x="2861217" y="1378913"/>
                </a:lnTo>
                <a:lnTo>
                  <a:pt x="2908615" y="1362252"/>
                </a:lnTo>
                <a:lnTo>
                  <a:pt x="2955584" y="1345320"/>
                </a:lnTo>
                <a:lnTo>
                  <a:pt x="3002119" y="1328121"/>
                </a:lnTo>
                <a:lnTo>
                  <a:pt x="3048215" y="1310655"/>
                </a:lnTo>
                <a:lnTo>
                  <a:pt x="3093867" y="1292926"/>
                </a:lnTo>
                <a:lnTo>
                  <a:pt x="3139069" y="1274934"/>
                </a:lnTo>
                <a:lnTo>
                  <a:pt x="3183816" y="1256683"/>
                </a:lnTo>
                <a:lnTo>
                  <a:pt x="3228102" y="1238174"/>
                </a:lnTo>
                <a:lnTo>
                  <a:pt x="3271923" y="1219409"/>
                </a:lnTo>
                <a:lnTo>
                  <a:pt x="3315272" y="1200390"/>
                </a:lnTo>
                <a:lnTo>
                  <a:pt x="3358145" y="1181120"/>
                </a:lnTo>
                <a:lnTo>
                  <a:pt x="3400537" y="1161599"/>
                </a:lnTo>
                <a:lnTo>
                  <a:pt x="3442441" y="1141832"/>
                </a:lnTo>
                <a:lnTo>
                  <a:pt x="3483854" y="1121818"/>
                </a:lnTo>
                <a:lnTo>
                  <a:pt x="3524768" y="1101561"/>
                </a:lnTo>
                <a:lnTo>
                  <a:pt x="3565180" y="1081062"/>
                </a:lnTo>
                <a:lnTo>
                  <a:pt x="3605084" y="1060324"/>
                </a:lnTo>
                <a:lnTo>
                  <a:pt x="3644474" y="1039348"/>
                </a:lnTo>
                <a:lnTo>
                  <a:pt x="3683345" y="1018137"/>
                </a:lnTo>
                <a:lnTo>
                  <a:pt x="3721692" y="996693"/>
                </a:lnTo>
                <a:lnTo>
                  <a:pt x="3759509" y="975017"/>
                </a:lnTo>
                <a:lnTo>
                  <a:pt x="3796792" y="953111"/>
                </a:lnTo>
                <a:lnTo>
                  <a:pt x="3833535" y="930979"/>
                </a:lnTo>
                <a:lnTo>
                  <a:pt x="3869732" y="908621"/>
                </a:lnTo>
                <a:lnTo>
                  <a:pt x="3905379" y="886040"/>
                </a:lnTo>
                <a:lnTo>
                  <a:pt x="3940470" y="863238"/>
                </a:lnTo>
                <a:lnTo>
                  <a:pt x="3974999" y="840216"/>
                </a:lnTo>
                <a:lnTo>
                  <a:pt x="4008962" y="816978"/>
                </a:lnTo>
                <a:lnTo>
                  <a:pt x="4042353" y="793524"/>
                </a:lnTo>
                <a:lnTo>
                  <a:pt x="4075167" y="769857"/>
                </a:lnTo>
                <a:lnTo>
                  <a:pt x="4107398" y="745980"/>
                </a:lnTo>
                <a:lnTo>
                  <a:pt x="4139041" y="721893"/>
                </a:lnTo>
                <a:lnTo>
                  <a:pt x="4170091" y="697599"/>
                </a:lnTo>
                <a:lnTo>
                  <a:pt x="4200543" y="673101"/>
                </a:lnTo>
                <a:lnTo>
                  <a:pt x="4230391" y="648399"/>
                </a:lnTo>
                <a:lnTo>
                  <a:pt x="4259630" y="623497"/>
                </a:lnTo>
                <a:lnTo>
                  <a:pt x="4316259" y="573098"/>
                </a:lnTo>
                <a:lnTo>
                  <a:pt x="4370388" y="521921"/>
                </a:lnTo>
                <a:lnTo>
                  <a:pt x="4421975" y="469980"/>
                </a:lnTo>
                <a:lnTo>
                  <a:pt x="4470976" y="417294"/>
                </a:lnTo>
                <a:lnTo>
                  <a:pt x="4517351" y="363877"/>
                </a:lnTo>
                <a:lnTo>
                  <a:pt x="4561055" y="309747"/>
                </a:lnTo>
                <a:lnTo>
                  <a:pt x="4602047" y="254919"/>
                </a:lnTo>
                <a:lnTo>
                  <a:pt x="4640284" y="199410"/>
                </a:lnTo>
                <a:lnTo>
                  <a:pt x="4675724" y="143236"/>
                </a:lnTo>
                <a:lnTo>
                  <a:pt x="4708324" y="86414"/>
                </a:lnTo>
                <a:lnTo>
                  <a:pt x="4738041" y="28959"/>
                </a:lnTo>
                <a:lnTo>
                  <a:pt x="4751806" y="0"/>
                </a:lnTo>
              </a:path>
            </a:pathLst>
          </a:custGeom>
          <a:ln w="57912">
            <a:solidFill>
              <a:srgbClr val="B41F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 name="Gerader Verbinder 2">
            <a:extLst>
              <a:ext uri="{FF2B5EF4-FFF2-40B4-BE49-F238E27FC236}">
                <a16:creationId xmlns:a16="http://schemas.microsoft.com/office/drawing/2014/main" id="{57387484-E062-42FB-AC7E-273B6FBB749F}"/>
              </a:ext>
            </a:extLst>
          </p:cNvPr>
          <p:cNvCxnSpPr>
            <a:cxnSpLocks/>
          </p:cNvCxnSpPr>
          <p:nvPr/>
        </p:nvCxnSpPr>
        <p:spPr>
          <a:xfrm flipV="1">
            <a:off x="10228643" y="2573518"/>
            <a:ext cx="0" cy="2851211"/>
          </a:xfrm>
          <a:prstGeom prst="line">
            <a:avLst/>
          </a:prstGeom>
          <a:ln w="25400">
            <a:solidFill>
              <a:srgbClr val="F16924"/>
            </a:solidFill>
          </a:ln>
        </p:spPr>
        <p:style>
          <a:lnRef idx="1">
            <a:schemeClr val="accent1"/>
          </a:lnRef>
          <a:fillRef idx="0">
            <a:schemeClr val="accent1"/>
          </a:fillRef>
          <a:effectRef idx="0">
            <a:schemeClr val="accent1"/>
          </a:effectRef>
          <a:fontRef idx="minor">
            <a:schemeClr val="tx1"/>
          </a:fontRef>
        </p:style>
      </p:cxnSp>
      <p:sp>
        <p:nvSpPr>
          <p:cNvPr id="9" name="Subtitle 2">
            <a:extLst>
              <a:ext uri="{FF2B5EF4-FFF2-40B4-BE49-F238E27FC236}">
                <a16:creationId xmlns:a16="http://schemas.microsoft.com/office/drawing/2014/main" id="{96F965B8-D26C-47FE-89AD-21579D22B6B5}"/>
              </a:ext>
            </a:extLst>
          </p:cNvPr>
          <p:cNvSpPr txBox="1">
            <a:spLocks/>
          </p:cNvSpPr>
          <p:nvPr/>
        </p:nvSpPr>
        <p:spPr>
          <a:xfrm>
            <a:off x="9834112" y="2002972"/>
            <a:ext cx="2480751" cy="47992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500"/>
              </a:lnSpc>
              <a:spcBef>
                <a:spcPct val="20000"/>
              </a:spcBef>
              <a:spcAft>
                <a:spcPts val="0"/>
              </a:spcAft>
              <a:buClrTx/>
              <a:buSzTx/>
              <a:buFont typeface="Arial"/>
              <a:buNone/>
              <a:tabLst/>
              <a:defRPr/>
            </a:pPr>
            <a: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t>Κρίση στη λειτουργία</a:t>
            </a:r>
            <a:b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br>
            <a: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t> αποτελέσματα</a:t>
            </a:r>
          </a:p>
        </p:txBody>
      </p:sp>
      <p:sp>
        <p:nvSpPr>
          <p:cNvPr id="10" name="Subtitle 2">
            <a:extLst>
              <a:ext uri="{FF2B5EF4-FFF2-40B4-BE49-F238E27FC236}">
                <a16:creationId xmlns:a16="http://schemas.microsoft.com/office/drawing/2014/main" id="{5D8C215B-CDBD-4E96-828A-9D3F7691DBF4}"/>
              </a:ext>
            </a:extLst>
          </p:cNvPr>
          <p:cNvSpPr txBox="1">
            <a:spLocks/>
          </p:cNvSpPr>
          <p:nvPr/>
        </p:nvSpPr>
        <p:spPr>
          <a:xfrm>
            <a:off x="10814789" y="3446253"/>
            <a:ext cx="1224593" cy="47992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ts val="1500"/>
              </a:lnSpc>
              <a:spcBef>
                <a:spcPct val="20000"/>
              </a:spcBef>
              <a:spcAft>
                <a:spcPts val="0"/>
              </a:spcAft>
              <a:buClrTx/>
              <a:buSzTx/>
              <a:buFont typeface="Arial"/>
              <a:buNone/>
              <a:tabLst/>
              <a:defRPr/>
            </a:pPr>
            <a:r>
              <a:rPr kumimoji="0" lang="en-GB" sz="1800" b="1" i="0" u="none" strike="noStrike" kern="1200" cap="none" spc="0" normalizeH="0" baseline="0" noProof="0" dirty="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rPr>
              <a:t>Κρίση ρευστότητας</a:t>
            </a:r>
          </a:p>
        </p:txBody>
      </p:sp>
      <p:sp>
        <p:nvSpPr>
          <p:cNvPr id="12" name="Subtitle 2">
            <a:extLst>
              <a:ext uri="{FF2B5EF4-FFF2-40B4-BE49-F238E27FC236}">
                <a16:creationId xmlns:a16="http://schemas.microsoft.com/office/drawing/2014/main" id="{877DAA80-B977-4532-B7AC-EC68B87E7E02}"/>
              </a:ext>
            </a:extLst>
          </p:cNvPr>
          <p:cNvSpPr txBox="1">
            <a:spLocks/>
          </p:cNvSpPr>
          <p:nvPr/>
        </p:nvSpPr>
        <p:spPr>
          <a:xfrm>
            <a:off x="3889235" y="1664088"/>
            <a:ext cx="2206764" cy="92004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500"/>
              </a:lnSpc>
              <a:spcBef>
                <a:spcPct val="20000"/>
              </a:spcBef>
              <a:spcAft>
                <a:spcPts val="0"/>
              </a:spcAft>
              <a:buClrTx/>
              <a:buSzTx/>
              <a:buFont typeface="Arial"/>
              <a:buNone/>
              <a:tabLst/>
              <a:defRPr/>
            </a:pPr>
            <a: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t>Αντικειμενική αναγνωρισιμότητα </a:t>
            </a:r>
            <a:b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br>
            <a:r>
              <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t>της κρίσης (σε %)</a:t>
            </a:r>
          </a:p>
          <a:p>
            <a:pPr marL="0" marR="0" lvl="0" indent="0" algn="l" defTabSz="1087636" rtl="0" eaLnBrk="1" fontAlgn="auto" latinLnBrk="0" hangingPunct="1">
              <a:lnSpc>
                <a:spcPts val="1500"/>
              </a:lnSpc>
              <a:spcBef>
                <a:spcPct val="20000"/>
              </a:spcBef>
              <a:spcAft>
                <a:spcPts val="0"/>
              </a:spcAft>
              <a:buClrTx/>
              <a:buSzTx/>
              <a:buFont typeface="Arial"/>
              <a:buNone/>
              <a:tabLst/>
              <a:defRPr/>
            </a:pPr>
            <a:endParaRPr kumimoji="0" lang="en-GB" sz="1800" b="1"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endParaRPr>
          </a:p>
        </p:txBody>
      </p:sp>
      <p:sp>
        <p:nvSpPr>
          <p:cNvPr id="13" name="Subtitle 2">
            <a:extLst>
              <a:ext uri="{FF2B5EF4-FFF2-40B4-BE49-F238E27FC236}">
                <a16:creationId xmlns:a16="http://schemas.microsoft.com/office/drawing/2014/main" id="{74AAA5CF-A286-4CA9-A8FF-0FFDE72608F1}"/>
              </a:ext>
            </a:extLst>
          </p:cNvPr>
          <p:cNvSpPr txBox="1">
            <a:spLocks/>
          </p:cNvSpPr>
          <p:nvPr/>
        </p:nvSpPr>
        <p:spPr>
          <a:xfrm>
            <a:off x="11147843" y="5380751"/>
            <a:ext cx="724287" cy="53532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ts val="1500"/>
              </a:lnSpc>
              <a:spcBef>
                <a:spcPct val="20000"/>
              </a:spcBef>
              <a:spcAft>
                <a:spcPts val="0"/>
              </a:spcAft>
              <a:buClrTx/>
              <a:buSzTx/>
              <a:buFont typeface="Arial"/>
              <a:buNone/>
              <a:tabLst/>
              <a:defRPr/>
            </a:pPr>
            <a:r>
              <a:rPr kumimoji="0" lang="en-GB" sz="1800" b="1" i="0" u="none" strike="noStrike" kern="1200" cap="none" spc="0" normalizeH="0" baseline="0" noProof="0" dirty="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rPr>
              <a:t>Χρόνος</a:t>
            </a:r>
          </a:p>
          <a:p>
            <a:pPr marL="0" marR="0" lvl="0" indent="0" algn="r" defTabSz="1087636" rtl="0" eaLnBrk="1" fontAlgn="auto" latinLnBrk="0" hangingPunct="1">
              <a:lnSpc>
                <a:spcPts val="1500"/>
              </a:lnSpc>
              <a:spcBef>
                <a:spcPct val="20000"/>
              </a:spcBef>
              <a:spcAft>
                <a:spcPts val="0"/>
              </a:spcAft>
              <a:buClrTx/>
              <a:buSzTx/>
              <a:buFont typeface="Arial"/>
              <a:buNone/>
              <a:tabLst/>
              <a:defRPr/>
            </a:pPr>
            <a:endParaRPr kumimoji="0" lang="en-GB" sz="1800" b="1" i="0" u="none" strike="noStrike" kern="1200" cap="none" spc="0" normalizeH="0" baseline="0" noProof="0" dirty="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8" name="Rectangle 7">
            <a:extLst>
              <a:ext uri="{FF2B5EF4-FFF2-40B4-BE49-F238E27FC236}">
                <a16:creationId xmlns:a16="http://schemas.microsoft.com/office/drawing/2014/main" id="{7A5264C9-4E8A-1D4F-2E74-3C46AF46D4D2}"/>
              </a:ext>
            </a:extLst>
          </p:cNvPr>
          <p:cNvSpPr/>
          <p:nvPr/>
        </p:nvSpPr>
        <p:spPr>
          <a:xfrm>
            <a:off x="360441" y="1984865"/>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389389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6" name="Rectangle 5">
            <a:extLst>
              <a:ext uri="{FF2B5EF4-FFF2-40B4-BE49-F238E27FC236}">
                <a16:creationId xmlns:a16="http://schemas.microsoft.com/office/drawing/2014/main" id="{943197E9-FF38-8D7E-E8A8-2912F3E98269}"/>
              </a:ext>
            </a:extLst>
          </p:cNvPr>
          <p:cNvSpPr/>
          <p:nvPr/>
        </p:nvSpPr>
        <p:spPr>
          <a:xfrm>
            <a:off x="30946"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
            <a:extLst>
              <a:ext uri="{FF2B5EF4-FFF2-40B4-BE49-F238E27FC236}">
                <a16:creationId xmlns:a16="http://schemas.microsoft.com/office/drawing/2014/main" id="{5FBF3AF8-1BD9-F12B-A0CF-27D8DC8CEAD6}"/>
              </a:ext>
            </a:extLst>
          </p:cNvPr>
          <p:cNvSpPr txBox="1">
            <a:spLocks/>
          </p:cNvSpPr>
          <p:nvPr/>
        </p:nvSpPr>
        <p:spPr>
          <a:xfrm>
            <a:off x="313996" y="2518585"/>
            <a:ext cx="2929858" cy="3494298"/>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2200" dirty="0">
                <a:solidFill>
                  <a:schemeClr val="bg1"/>
                </a:solidFill>
              </a:rPr>
              <a:t>Οι επιχειρηματικές κρίσεις συχνά εκτυλίσσονται κατά κύματα.</a:t>
            </a:r>
          </a:p>
          <a:p>
            <a:pPr marL="15875" indent="-15875"/>
            <a:r>
              <a:rPr lang="en-US" sz="2200" dirty="0">
                <a:solidFill>
                  <a:schemeClr val="bg1"/>
                </a:solidFill>
              </a:rPr>
              <a:t> Εν τω μεταξύ, υπάρχουν συχνά παραπλανητικές φάσεις χαλάρωσης που οδηγούν τους ιδιοκτήτες και τη διοίκηση να πιστεύουν ότι η κρίση έχει ξεπεραστεί.</a:t>
            </a:r>
          </a:p>
        </p:txBody>
      </p:sp>
      <p:sp>
        <p:nvSpPr>
          <p:cNvPr id="8" name="Textplatzhalter 32">
            <a:extLst>
              <a:ext uri="{FF2B5EF4-FFF2-40B4-BE49-F238E27FC236}">
                <a16:creationId xmlns:a16="http://schemas.microsoft.com/office/drawing/2014/main" id="{B01D38FD-F513-F119-A443-AF941F79A547}"/>
              </a:ext>
            </a:extLst>
          </p:cNvPr>
          <p:cNvSpPr txBox="1">
            <a:spLocks/>
          </p:cNvSpPr>
          <p:nvPr/>
        </p:nvSpPr>
        <p:spPr>
          <a:xfrm>
            <a:off x="392411" y="420981"/>
            <a:ext cx="3025497" cy="20791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dirty="0">
                <a:solidFill>
                  <a:schemeClr val="bg1"/>
                </a:solidFill>
              </a:rPr>
              <a:t>Απλοποιημένο μοντέλο κρίσεων</a:t>
            </a:r>
          </a:p>
        </p:txBody>
      </p:sp>
      <p:sp>
        <p:nvSpPr>
          <p:cNvPr id="9" name="Rectangle 8">
            <a:extLst>
              <a:ext uri="{FF2B5EF4-FFF2-40B4-BE49-F238E27FC236}">
                <a16:creationId xmlns:a16="http://schemas.microsoft.com/office/drawing/2014/main" id="{0B1E440C-1976-92F4-BBFD-21424F868DA7}"/>
              </a:ext>
            </a:extLst>
          </p:cNvPr>
          <p:cNvSpPr/>
          <p:nvPr/>
        </p:nvSpPr>
        <p:spPr>
          <a:xfrm>
            <a:off x="360441" y="20711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15" name="Gerade Verbindung mit Pfeil 9">
            <a:extLst>
              <a:ext uri="{FF2B5EF4-FFF2-40B4-BE49-F238E27FC236}">
                <a16:creationId xmlns:a16="http://schemas.microsoft.com/office/drawing/2014/main" id="{BB72E755-DC47-D98A-8E32-CA8F229B433F}"/>
              </a:ext>
            </a:extLst>
          </p:cNvPr>
          <p:cNvCxnSpPr/>
          <p:nvPr/>
        </p:nvCxnSpPr>
        <p:spPr>
          <a:xfrm flipV="1">
            <a:off x="4017734" y="2367544"/>
            <a:ext cx="0" cy="37446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24">
            <a:extLst>
              <a:ext uri="{FF2B5EF4-FFF2-40B4-BE49-F238E27FC236}">
                <a16:creationId xmlns:a16="http://schemas.microsoft.com/office/drawing/2014/main" id="{726603EE-E329-973D-B97F-8881540BE439}"/>
              </a:ext>
            </a:extLst>
          </p:cNvPr>
          <p:cNvCxnSpPr>
            <a:cxnSpLocks/>
          </p:cNvCxnSpPr>
          <p:nvPr/>
        </p:nvCxnSpPr>
        <p:spPr>
          <a:xfrm>
            <a:off x="4017734" y="6112229"/>
            <a:ext cx="740267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feld 40">
            <a:extLst>
              <a:ext uri="{FF2B5EF4-FFF2-40B4-BE49-F238E27FC236}">
                <a16:creationId xmlns:a16="http://schemas.microsoft.com/office/drawing/2014/main" id="{BC80972D-8B7B-AF66-361D-C2C8D3FD6CF4}"/>
              </a:ext>
            </a:extLst>
          </p:cNvPr>
          <p:cNvSpPr txBox="1"/>
          <p:nvPr/>
        </p:nvSpPr>
        <p:spPr>
          <a:xfrm>
            <a:off x="6526801" y="4482868"/>
            <a:ext cx="1319848" cy="338554"/>
          </a:xfrm>
          <a:prstGeom prst="rect">
            <a:avLst/>
          </a:prstGeom>
          <a:noFill/>
        </p:spPr>
        <p:txBody>
          <a:bodyPr wrap="none" rtlCol="0">
            <a:spAutoFit/>
          </a:bodyPr>
          <a:lstStyle/>
          <a:p>
            <a:r>
              <a:rPr lang="en-GB" sz="1600" b="1" dirty="0">
                <a:solidFill>
                  <a:srgbClr val="F16924"/>
                </a:solidFill>
              </a:rPr>
              <a:t>Σημείο στροφής</a:t>
            </a:r>
          </a:p>
        </p:txBody>
      </p:sp>
      <p:sp>
        <p:nvSpPr>
          <p:cNvPr id="18" name="Textfeld 41">
            <a:extLst>
              <a:ext uri="{FF2B5EF4-FFF2-40B4-BE49-F238E27FC236}">
                <a16:creationId xmlns:a16="http://schemas.microsoft.com/office/drawing/2014/main" id="{8D94C49B-1463-8050-83FF-62B1AB676F27}"/>
              </a:ext>
            </a:extLst>
          </p:cNvPr>
          <p:cNvSpPr txBox="1"/>
          <p:nvPr/>
        </p:nvSpPr>
        <p:spPr>
          <a:xfrm>
            <a:off x="10548301" y="1544135"/>
            <a:ext cx="1612753" cy="830997"/>
          </a:xfrm>
          <a:prstGeom prst="rect">
            <a:avLst/>
          </a:prstGeom>
          <a:noFill/>
        </p:spPr>
        <p:txBody>
          <a:bodyPr wrap="square" rtlCol="0">
            <a:spAutoFit/>
          </a:bodyPr>
          <a:lstStyle/>
          <a:p>
            <a:r>
              <a:rPr lang="en-GB" sz="1600" b="1" dirty="0">
                <a:solidFill>
                  <a:srgbClr val="F16924"/>
                </a:solidFill>
              </a:rPr>
              <a:t>Τέλος της κρίσης - συνέχιση της ύπαρξης</a:t>
            </a:r>
          </a:p>
        </p:txBody>
      </p:sp>
      <p:sp>
        <p:nvSpPr>
          <p:cNvPr id="19" name="Textfeld 42">
            <a:extLst>
              <a:ext uri="{FF2B5EF4-FFF2-40B4-BE49-F238E27FC236}">
                <a16:creationId xmlns:a16="http://schemas.microsoft.com/office/drawing/2014/main" id="{4DBEF007-657A-59DB-A232-15158582C52C}"/>
              </a:ext>
            </a:extLst>
          </p:cNvPr>
          <p:cNvSpPr txBox="1"/>
          <p:nvPr/>
        </p:nvSpPr>
        <p:spPr>
          <a:xfrm>
            <a:off x="10147476" y="4482868"/>
            <a:ext cx="1870898" cy="1569660"/>
          </a:xfrm>
          <a:prstGeom prst="rect">
            <a:avLst/>
          </a:prstGeom>
          <a:noFill/>
        </p:spPr>
        <p:txBody>
          <a:bodyPr wrap="square" rtlCol="0">
            <a:spAutoFit/>
          </a:bodyPr>
          <a:lstStyle/>
          <a:p>
            <a:r>
              <a:rPr lang="en-GB" sz="1600" b="1" dirty="0">
                <a:solidFill>
                  <a:srgbClr val="EDA13E"/>
                </a:solidFill>
              </a:rPr>
              <a:t>Τέλος της κρίσης </a:t>
            </a:r>
            <a:br>
              <a:rPr lang="en-GB" sz="1600" b="1" dirty="0">
                <a:solidFill>
                  <a:srgbClr val="EDA13E"/>
                </a:solidFill>
              </a:rPr>
            </a:br>
            <a:r>
              <a:rPr lang="en-GB" sz="1600" b="1" dirty="0">
                <a:solidFill>
                  <a:srgbClr val="EDA13E"/>
                </a:solidFill>
              </a:rPr>
              <a:t>- εκκαθάριση / </a:t>
            </a:r>
            <a:br>
              <a:rPr lang="en-GB" sz="1600" b="1" dirty="0">
                <a:solidFill>
                  <a:srgbClr val="EDA13E"/>
                </a:solidFill>
              </a:rPr>
            </a:br>
            <a:r>
              <a:rPr lang="en-GB" sz="1600" b="1" dirty="0">
                <a:solidFill>
                  <a:srgbClr val="EDA13E"/>
                </a:solidFill>
              </a:rPr>
              <a:t>διακοπή της </a:t>
            </a:r>
            <a:br>
              <a:rPr lang="en-GB" sz="1600" b="1" dirty="0">
                <a:solidFill>
                  <a:srgbClr val="EDA13E"/>
                </a:solidFill>
              </a:rPr>
            </a:br>
            <a:r>
              <a:rPr lang="en-GB" sz="1600" b="1" dirty="0">
                <a:solidFill>
                  <a:srgbClr val="EDA13E"/>
                </a:solidFill>
              </a:rPr>
              <a:t>επιχειρηματικών δραστηριοτήτων</a:t>
            </a:r>
          </a:p>
          <a:p>
            <a:endParaRPr lang="en-GB" sz="1600" dirty="0">
              <a:solidFill>
                <a:srgbClr val="EDA13E"/>
              </a:solidFill>
            </a:endParaRPr>
          </a:p>
          <a:p>
            <a:endParaRPr lang="en-GB" sz="1600" dirty="0">
              <a:solidFill>
                <a:srgbClr val="EDA13E"/>
              </a:solidFill>
            </a:endParaRPr>
          </a:p>
        </p:txBody>
      </p:sp>
      <p:sp>
        <p:nvSpPr>
          <p:cNvPr id="20" name="Textfeld 43">
            <a:extLst>
              <a:ext uri="{FF2B5EF4-FFF2-40B4-BE49-F238E27FC236}">
                <a16:creationId xmlns:a16="http://schemas.microsoft.com/office/drawing/2014/main" id="{949ED6CC-7930-8CB7-B4C4-9D37434CCD8A}"/>
              </a:ext>
            </a:extLst>
          </p:cNvPr>
          <p:cNvSpPr txBox="1"/>
          <p:nvPr/>
        </p:nvSpPr>
        <p:spPr>
          <a:xfrm>
            <a:off x="7170022" y="5917995"/>
            <a:ext cx="657552" cy="369332"/>
          </a:xfrm>
          <a:prstGeom prst="rect">
            <a:avLst/>
          </a:prstGeom>
          <a:solidFill>
            <a:schemeClr val="bg1"/>
          </a:solidFill>
        </p:spPr>
        <p:txBody>
          <a:bodyPr wrap="none" rtlCol="0">
            <a:spAutoFit/>
          </a:bodyPr>
          <a:lstStyle/>
          <a:p>
            <a:r>
              <a:rPr lang="en-GB" b="1" dirty="0"/>
              <a:t>Χρόνος</a:t>
            </a:r>
          </a:p>
        </p:txBody>
      </p:sp>
      <p:sp>
        <p:nvSpPr>
          <p:cNvPr id="21" name="Textfeld 44">
            <a:extLst>
              <a:ext uri="{FF2B5EF4-FFF2-40B4-BE49-F238E27FC236}">
                <a16:creationId xmlns:a16="http://schemas.microsoft.com/office/drawing/2014/main" id="{D8493BDA-451D-B0F0-AE54-E74745A35E55}"/>
              </a:ext>
            </a:extLst>
          </p:cNvPr>
          <p:cNvSpPr txBox="1"/>
          <p:nvPr/>
        </p:nvSpPr>
        <p:spPr>
          <a:xfrm rot="16200000">
            <a:off x="2859578" y="4055220"/>
            <a:ext cx="2270814" cy="369332"/>
          </a:xfrm>
          <a:prstGeom prst="rect">
            <a:avLst/>
          </a:prstGeom>
          <a:solidFill>
            <a:schemeClr val="bg1"/>
          </a:solidFill>
        </p:spPr>
        <p:txBody>
          <a:bodyPr wrap="none" rtlCol="0">
            <a:spAutoFit/>
          </a:bodyPr>
          <a:lstStyle/>
          <a:p>
            <a:r>
              <a:rPr lang="en-GB" b="1" dirty="0"/>
              <a:t>Πιθανότητα επιβίωσης</a:t>
            </a:r>
          </a:p>
        </p:txBody>
      </p:sp>
      <p:sp>
        <p:nvSpPr>
          <p:cNvPr id="22" name="Textfeld 45">
            <a:extLst>
              <a:ext uri="{FF2B5EF4-FFF2-40B4-BE49-F238E27FC236}">
                <a16:creationId xmlns:a16="http://schemas.microsoft.com/office/drawing/2014/main" id="{EB891BC9-DBFB-213D-2598-C18471ACEBC1}"/>
              </a:ext>
            </a:extLst>
          </p:cNvPr>
          <p:cNvSpPr txBox="1"/>
          <p:nvPr/>
        </p:nvSpPr>
        <p:spPr>
          <a:xfrm>
            <a:off x="4075455" y="2020283"/>
            <a:ext cx="2408032" cy="338554"/>
          </a:xfrm>
          <a:prstGeom prst="rect">
            <a:avLst/>
          </a:prstGeom>
          <a:noFill/>
        </p:spPr>
        <p:txBody>
          <a:bodyPr wrap="none" rtlCol="0">
            <a:spAutoFit/>
          </a:bodyPr>
          <a:lstStyle/>
          <a:p>
            <a:r>
              <a:rPr lang="en-GB" sz="1600" b="1" dirty="0">
                <a:solidFill>
                  <a:srgbClr val="B41F7A"/>
                </a:solidFill>
              </a:rPr>
              <a:t>Η αρχή της κρίσης</a:t>
            </a:r>
          </a:p>
        </p:txBody>
      </p:sp>
      <p:sp>
        <p:nvSpPr>
          <p:cNvPr id="23" name="Textfeld 48">
            <a:extLst>
              <a:ext uri="{FF2B5EF4-FFF2-40B4-BE49-F238E27FC236}">
                <a16:creationId xmlns:a16="http://schemas.microsoft.com/office/drawing/2014/main" id="{35F3BAA7-9C51-1280-4639-214119D6E4B5}"/>
              </a:ext>
            </a:extLst>
          </p:cNvPr>
          <p:cNvSpPr txBox="1"/>
          <p:nvPr/>
        </p:nvSpPr>
        <p:spPr>
          <a:xfrm>
            <a:off x="7843034" y="5140274"/>
            <a:ext cx="1304844" cy="584775"/>
          </a:xfrm>
          <a:prstGeom prst="rect">
            <a:avLst/>
          </a:prstGeom>
          <a:noFill/>
        </p:spPr>
        <p:txBody>
          <a:bodyPr wrap="none" rtlCol="0">
            <a:spAutoFit/>
          </a:bodyPr>
          <a:lstStyle/>
          <a:p>
            <a:r>
              <a:rPr lang="en-GB" sz="1600" b="1" dirty="0">
                <a:solidFill>
                  <a:srgbClr val="EDA13E"/>
                </a:solidFill>
              </a:rPr>
              <a:t>Πιθανή </a:t>
            </a:r>
            <a:br>
              <a:rPr lang="en-GB" sz="1600" b="1" dirty="0">
                <a:solidFill>
                  <a:srgbClr val="EDA13E"/>
                </a:solidFill>
              </a:rPr>
            </a:br>
            <a:r>
              <a:rPr lang="en-GB" sz="1600" b="1" dirty="0">
                <a:solidFill>
                  <a:srgbClr val="EDA13E"/>
                </a:solidFill>
              </a:rPr>
              <a:t>σημείο καμπής</a:t>
            </a:r>
          </a:p>
        </p:txBody>
      </p:sp>
      <p:sp>
        <p:nvSpPr>
          <p:cNvPr id="24" name="Textfeld 49">
            <a:extLst>
              <a:ext uri="{FF2B5EF4-FFF2-40B4-BE49-F238E27FC236}">
                <a16:creationId xmlns:a16="http://schemas.microsoft.com/office/drawing/2014/main" id="{2EC2A4B1-67CD-5EA8-85AB-42EFA99040A5}"/>
              </a:ext>
            </a:extLst>
          </p:cNvPr>
          <p:cNvSpPr txBox="1"/>
          <p:nvPr/>
        </p:nvSpPr>
        <p:spPr>
          <a:xfrm>
            <a:off x="8495456" y="3148050"/>
            <a:ext cx="2157450" cy="584775"/>
          </a:xfrm>
          <a:prstGeom prst="rect">
            <a:avLst/>
          </a:prstGeom>
          <a:noFill/>
        </p:spPr>
        <p:txBody>
          <a:bodyPr wrap="none" rtlCol="0">
            <a:spAutoFit/>
          </a:bodyPr>
          <a:lstStyle/>
          <a:p>
            <a:r>
              <a:rPr lang="en-GB" sz="1600" b="1" dirty="0">
                <a:solidFill>
                  <a:srgbClr val="F16924"/>
                </a:solidFill>
              </a:rPr>
              <a:t>Εφαρμογή της </a:t>
            </a:r>
            <a:br>
              <a:rPr lang="en-GB" sz="1600" b="1" dirty="0">
                <a:solidFill>
                  <a:srgbClr val="F16924"/>
                </a:solidFill>
              </a:rPr>
            </a:br>
            <a:r>
              <a:rPr lang="en-GB" sz="1600" b="1" dirty="0">
                <a:solidFill>
                  <a:srgbClr val="F16924"/>
                </a:solidFill>
              </a:rPr>
              <a:t>μέτρα αναδιάρθρωσης</a:t>
            </a:r>
          </a:p>
        </p:txBody>
      </p:sp>
      <p:grpSp>
        <p:nvGrpSpPr>
          <p:cNvPr id="26" name="Gruppieren 2">
            <a:extLst>
              <a:ext uri="{FF2B5EF4-FFF2-40B4-BE49-F238E27FC236}">
                <a16:creationId xmlns:a16="http://schemas.microsoft.com/office/drawing/2014/main" id="{43008632-E082-AF84-DE85-74C0C0503B22}"/>
              </a:ext>
            </a:extLst>
          </p:cNvPr>
          <p:cNvGrpSpPr/>
          <p:nvPr/>
        </p:nvGrpSpPr>
        <p:grpSpPr>
          <a:xfrm>
            <a:off x="4192287" y="2071130"/>
            <a:ext cx="6583684" cy="3895957"/>
            <a:chOff x="2258429" y="2025872"/>
            <a:chExt cx="7808686" cy="3895957"/>
          </a:xfrm>
        </p:grpSpPr>
        <p:sp>
          <p:nvSpPr>
            <p:cNvPr id="28" name="Freihandform: Form 34">
              <a:extLst>
                <a:ext uri="{FF2B5EF4-FFF2-40B4-BE49-F238E27FC236}">
                  <a16:creationId xmlns:a16="http://schemas.microsoft.com/office/drawing/2014/main" id="{83C5B9BC-DB2A-FF25-C3A7-54F28D87285B}"/>
                </a:ext>
              </a:extLst>
            </p:cNvPr>
            <p:cNvSpPr/>
            <p:nvPr/>
          </p:nvSpPr>
          <p:spPr>
            <a:xfrm>
              <a:off x="2258429" y="2351314"/>
              <a:ext cx="7808685" cy="3570515"/>
            </a:xfrm>
            <a:custGeom>
              <a:avLst/>
              <a:gdLst>
                <a:gd name="connsiteX0" fmla="*/ 0 w 7808685"/>
                <a:gd name="connsiteY0" fmla="*/ 0 h 3570515"/>
                <a:gd name="connsiteX1" fmla="*/ 1074057 w 7808685"/>
                <a:gd name="connsiteY1" fmla="*/ 290286 h 3570515"/>
                <a:gd name="connsiteX2" fmla="*/ 2191657 w 7808685"/>
                <a:gd name="connsiteY2" fmla="*/ 1567543 h 3570515"/>
                <a:gd name="connsiteX3" fmla="*/ 3280228 w 7808685"/>
                <a:gd name="connsiteY3" fmla="*/ 1944915 h 3570515"/>
                <a:gd name="connsiteX4" fmla="*/ 4383314 w 7808685"/>
                <a:gd name="connsiteY4" fmla="*/ 1988457 h 3570515"/>
                <a:gd name="connsiteX5" fmla="*/ 5617028 w 7808685"/>
                <a:gd name="connsiteY5" fmla="*/ 2656115 h 3570515"/>
                <a:gd name="connsiteX6" fmla="*/ 6589485 w 7808685"/>
                <a:gd name="connsiteY6" fmla="*/ 3338286 h 3570515"/>
                <a:gd name="connsiteX7" fmla="*/ 7808685 w 7808685"/>
                <a:gd name="connsiteY7" fmla="*/ 3570515 h 3570515"/>
                <a:gd name="connsiteX8" fmla="*/ 7808685 w 7808685"/>
                <a:gd name="connsiteY8" fmla="*/ 3570515 h 3570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8685" h="3570515">
                  <a:moveTo>
                    <a:pt x="0" y="0"/>
                  </a:moveTo>
                  <a:cubicBezTo>
                    <a:pt x="354390" y="14514"/>
                    <a:pt x="708781" y="29029"/>
                    <a:pt x="1074057" y="290286"/>
                  </a:cubicBezTo>
                  <a:cubicBezTo>
                    <a:pt x="1439333" y="551543"/>
                    <a:pt x="1823962" y="1291771"/>
                    <a:pt x="2191657" y="1567543"/>
                  </a:cubicBezTo>
                  <a:cubicBezTo>
                    <a:pt x="2559352" y="1843315"/>
                    <a:pt x="2914952" y="1874763"/>
                    <a:pt x="3280228" y="1944915"/>
                  </a:cubicBezTo>
                  <a:cubicBezTo>
                    <a:pt x="3645504" y="2015067"/>
                    <a:pt x="3993847" y="1869924"/>
                    <a:pt x="4383314" y="1988457"/>
                  </a:cubicBezTo>
                  <a:cubicBezTo>
                    <a:pt x="4772781" y="2106990"/>
                    <a:pt x="5249333" y="2431144"/>
                    <a:pt x="5617028" y="2656115"/>
                  </a:cubicBezTo>
                  <a:cubicBezTo>
                    <a:pt x="5984723" y="2881086"/>
                    <a:pt x="6224209" y="3185886"/>
                    <a:pt x="6589485" y="3338286"/>
                  </a:cubicBezTo>
                  <a:cubicBezTo>
                    <a:pt x="6954761" y="3490686"/>
                    <a:pt x="7808685" y="3570515"/>
                    <a:pt x="7808685" y="3570515"/>
                  </a:cubicBezTo>
                  <a:lnTo>
                    <a:pt x="7808685" y="3570515"/>
                  </a:lnTo>
                </a:path>
              </a:pathLst>
            </a:custGeom>
            <a:no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Freihandform: Form 38">
              <a:extLst>
                <a:ext uri="{FF2B5EF4-FFF2-40B4-BE49-F238E27FC236}">
                  <a16:creationId xmlns:a16="http://schemas.microsoft.com/office/drawing/2014/main" id="{5B29531A-31DF-D187-1954-B57548577855}"/>
                </a:ext>
              </a:extLst>
            </p:cNvPr>
            <p:cNvSpPr/>
            <p:nvPr/>
          </p:nvSpPr>
          <p:spPr>
            <a:xfrm>
              <a:off x="5738561" y="2365833"/>
              <a:ext cx="4295537" cy="1988457"/>
            </a:xfrm>
            <a:custGeom>
              <a:avLst/>
              <a:gdLst>
                <a:gd name="connsiteX0" fmla="*/ 0 w 4746171"/>
                <a:gd name="connsiteY0" fmla="*/ 1988457 h 1988457"/>
                <a:gd name="connsiteX1" fmla="*/ 1161143 w 4746171"/>
                <a:gd name="connsiteY1" fmla="*/ 1538514 h 1988457"/>
                <a:gd name="connsiteX2" fmla="*/ 2119085 w 4746171"/>
                <a:gd name="connsiteY2" fmla="*/ 493486 h 1988457"/>
                <a:gd name="connsiteX3" fmla="*/ 4746171 w 4746171"/>
                <a:gd name="connsiteY3" fmla="*/ 0 h 1988457"/>
                <a:gd name="connsiteX4" fmla="*/ 4746171 w 4746171"/>
                <a:gd name="connsiteY4" fmla="*/ 0 h 198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6171" h="1988457">
                  <a:moveTo>
                    <a:pt x="0" y="1988457"/>
                  </a:moveTo>
                  <a:cubicBezTo>
                    <a:pt x="403981" y="1888066"/>
                    <a:pt x="807962" y="1787676"/>
                    <a:pt x="1161143" y="1538514"/>
                  </a:cubicBezTo>
                  <a:cubicBezTo>
                    <a:pt x="1514324" y="1289352"/>
                    <a:pt x="1521580" y="749905"/>
                    <a:pt x="2119085" y="493486"/>
                  </a:cubicBezTo>
                  <a:cubicBezTo>
                    <a:pt x="2716590" y="237067"/>
                    <a:pt x="4746171" y="0"/>
                    <a:pt x="4746171" y="0"/>
                  </a:cubicBezTo>
                  <a:lnTo>
                    <a:pt x="4746171" y="0"/>
                  </a:lnTo>
                </a:path>
              </a:pathLst>
            </a:custGeom>
            <a:no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Freihandform: Form 47">
              <a:extLst>
                <a:ext uri="{FF2B5EF4-FFF2-40B4-BE49-F238E27FC236}">
                  <a16:creationId xmlns:a16="http://schemas.microsoft.com/office/drawing/2014/main" id="{671A8132-9DBC-253B-63A8-C66328436679}"/>
                </a:ext>
              </a:extLst>
            </p:cNvPr>
            <p:cNvSpPr/>
            <p:nvPr/>
          </p:nvSpPr>
          <p:spPr>
            <a:xfrm>
              <a:off x="7788373" y="3657600"/>
              <a:ext cx="2278742"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EDA13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reihandform: Form 50">
              <a:extLst>
                <a:ext uri="{FF2B5EF4-FFF2-40B4-BE49-F238E27FC236}">
                  <a16:creationId xmlns:a16="http://schemas.microsoft.com/office/drawing/2014/main" id="{E1A9B09F-A912-1FB7-63D4-2E7E96CC56E2}"/>
                </a:ext>
              </a:extLst>
            </p:cNvPr>
            <p:cNvSpPr/>
            <p:nvPr/>
          </p:nvSpPr>
          <p:spPr>
            <a:xfrm>
              <a:off x="3889569" y="2025872"/>
              <a:ext cx="2394857"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B41F7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2" name="Ellipse 51">
            <a:extLst>
              <a:ext uri="{FF2B5EF4-FFF2-40B4-BE49-F238E27FC236}">
                <a16:creationId xmlns:a16="http://schemas.microsoft.com/office/drawing/2014/main" id="{1EDC401A-643C-1B36-A56B-FA37256CB8E2}"/>
              </a:ext>
            </a:extLst>
          </p:cNvPr>
          <p:cNvSpPr/>
          <p:nvPr/>
        </p:nvSpPr>
        <p:spPr>
          <a:xfrm>
            <a:off x="5454040" y="3229281"/>
            <a:ext cx="290286" cy="278763"/>
          </a:xfrm>
          <a:prstGeom prst="ellipse">
            <a:avLst/>
          </a:prstGeom>
          <a:solidFill>
            <a:srgbClr val="B41F7A"/>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Textfeld 52">
            <a:extLst>
              <a:ext uri="{FF2B5EF4-FFF2-40B4-BE49-F238E27FC236}">
                <a16:creationId xmlns:a16="http://schemas.microsoft.com/office/drawing/2014/main" id="{3603FB90-32D4-B21E-5023-1079DB87F823}"/>
              </a:ext>
            </a:extLst>
          </p:cNvPr>
          <p:cNvSpPr txBox="1"/>
          <p:nvPr/>
        </p:nvSpPr>
        <p:spPr>
          <a:xfrm>
            <a:off x="4469938" y="3534347"/>
            <a:ext cx="1304844" cy="584775"/>
          </a:xfrm>
          <a:prstGeom prst="rect">
            <a:avLst/>
          </a:prstGeom>
          <a:noFill/>
        </p:spPr>
        <p:txBody>
          <a:bodyPr wrap="none" rtlCol="0">
            <a:spAutoFit/>
          </a:bodyPr>
          <a:lstStyle/>
          <a:p>
            <a:r>
              <a:rPr lang="en-GB" sz="1600" b="1" dirty="0">
                <a:solidFill>
                  <a:srgbClr val="B41F7A"/>
                </a:solidFill>
              </a:rPr>
              <a:t>Πιθανή </a:t>
            </a:r>
            <a:br>
              <a:rPr lang="en-GB" sz="1600" b="1" dirty="0">
                <a:solidFill>
                  <a:srgbClr val="B41F7A"/>
                </a:solidFill>
              </a:rPr>
            </a:br>
            <a:r>
              <a:rPr lang="en-GB" sz="1600" b="1" dirty="0">
                <a:solidFill>
                  <a:srgbClr val="B41F7A"/>
                </a:solidFill>
              </a:rPr>
              <a:t>σημείο καμπής</a:t>
            </a:r>
          </a:p>
        </p:txBody>
      </p:sp>
      <p:sp>
        <p:nvSpPr>
          <p:cNvPr id="34" name="Ellipse 39">
            <a:extLst>
              <a:ext uri="{FF2B5EF4-FFF2-40B4-BE49-F238E27FC236}">
                <a16:creationId xmlns:a16="http://schemas.microsoft.com/office/drawing/2014/main" id="{61CBECB5-793A-4233-39FD-C418325CBDCD}"/>
              </a:ext>
            </a:extLst>
          </p:cNvPr>
          <p:cNvSpPr/>
          <p:nvPr/>
        </p:nvSpPr>
        <p:spPr>
          <a:xfrm>
            <a:off x="6989898" y="4210447"/>
            <a:ext cx="290286" cy="278763"/>
          </a:xfrm>
          <a:prstGeom prst="ellipse">
            <a:avLst/>
          </a:prstGeom>
          <a:solidFill>
            <a:srgbClr val="F16924"/>
          </a:solidFill>
          <a:ln>
            <a:solidFill>
              <a:srgbClr val="BBC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Ellipse 46">
            <a:extLst>
              <a:ext uri="{FF2B5EF4-FFF2-40B4-BE49-F238E27FC236}">
                <a16:creationId xmlns:a16="http://schemas.microsoft.com/office/drawing/2014/main" id="{6C6C4E7D-C741-27D5-3BD6-A9853B015324}"/>
              </a:ext>
            </a:extLst>
          </p:cNvPr>
          <p:cNvSpPr/>
          <p:nvPr/>
        </p:nvSpPr>
        <p:spPr>
          <a:xfrm>
            <a:off x="8709568" y="4861009"/>
            <a:ext cx="290286" cy="278763"/>
          </a:xfrm>
          <a:prstGeom prst="ellipse">
            <a:avLst/>
          </a:prstGeom>
          <a:solidFill>
            <a:srgbClr val="EDA13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514100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hevron 4">
            <a:extLst>
              <a:ext uri="{FF2B5EF4-FFF2-40B4-BE49-F238E27FC236}">
                <a16:creationId xmlns:a16="http://schemas.microsoft.com/office/drawing/2014/main" id="{FB29BF5D-2A26-28A8-EE6A-F9C95A59CE56}"/>
              </a:ext>
            </a:extLst>
          </p:cNvPr>
          <p:cNvSpPr/>
          <p:nvPr/>
        </p:nvSpPr>
        <p:spPr>
          <a:xfrm>
            <a:off x="6543744" y="2788364"/>
            <a:ext cx="1405522"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7" name="Rectangle 6">
            <a:extLst>
              <a:ext uri="{FF2B5EF4-FFF2-40B4-BE49-F238E27FC236}">
                <a16:creationId xmlns:a16="http://schemas.microsoft.com/office/drawing/2014/main" id="{3323A4DB-7F88-AC4C-C90A-89E0C45AA389}"/>
              </a:ext>
            </a:extLst>
          </p:cNvPr>
          <p:cNvSpPr/>
          <p:nvPr/>
        </p:nvSpPr>
        <p:spPr>
          <a:xfrm>
            <a:off x="0"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
            <a:extLst>
              <a:ext uri="{FF2B5EF4-FFF2-40B4-BE49-F238E27FC236}">
                <a16:creationId xmlns:a16="http://schemas.microsoft.com/office/drawing/2014/main" id="{42827465-282D-5466-F926-96B79BD4A917}"/>
              </a:ext>
            </a:extLst>
          </p:cNvPr>
          <p:cNvSpPr txBox="1">
            <a:spLocks/>
          </p:cNvSpPr>
          <p:nvPr/>
        </p:nvSpPr>
        <p:spPr>
          <a:xfrm>
            <a:off x="289303" y="2150819"/>
            <a:ext cx="2879792" cy="40862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lnSpc>
                <a:spcPct val="110000"/>
              </a:lnSpc>
            </a:pPr>
            <a:r>
              <a:rPr lang="en-US" sz="1800" dirty="0">
                <a:solidFill>
                  <a:schemeClr val="bg1"/>
                </a:solidFill>
              </a:rPr>
              <a:t>Οι επιχειρηματικές κρίσεις ακολουθούν συνήθως μια τυπική πορεία. Στην πράξη, οι επιμέρους φάσεις μπορεί να έχουν διαφορετική διάρκεια, και μερικές φορές μια φάση παραλείπεται.  Κατά κανόνα, όσο πιο προχωρημένη είναι η κρίση, τόσο πιο δύσκολη και δαπανηρή είναι η επίλυσή της. Αργότερα σε αυτή την ενότητα θα ασχοληθούμε λεπτομερώς με τις επιμέρους φάσεις. </a:t>
            </a:r>
          </a:p>
        </p:txBody>
      </p:sp>
      <p:sp>
        <p:nvSpPr>
          <p:cNvPr id="9" name="Textplatzhalter 32">
            <a:extLst>
              <a:ext uri="{FF2B5EF4-FFF2-40B4-BE49-F238E27FC236}">
                <a16:creationId xmlns:a16="http://schemas.microsoft.com/office/drawing/2014/main" id="{5CBE511A-F4D6-B3A5-F660-D9F55A254950}"/>
              </a:ext>
            </a:extLst>
          </p:cNvPr>
          <p:cNvSpPr txBox="1">
            <a:spLocks/>
          </p:cNvSpPr>
          <p:nvPr/>
        </p:nvSpPr>
        <p:spPr>
          <a:xfrm>
            <a:off x="392411" y="420981"/>
            <a:ext cx="3025497" cy="20791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dirty="0">
                <a:solidFill>
                  <a:schemeClr val="bg1"/>
                </a:solidFill>
              </a:rPr>
              <a:t>Η τυπική πορεία μιας κρίσης</a:t>
            </a:r>
          </a:p>
        </p:txBody>
      </p:sp>
      <p:sp>
        <p:nvSpPr>
          <p:cNvPr id="10" name="Rectangle 9">
            <a:extLst>
              <a:ext uri="{FF2B5EF4-FFF2-40B4-BE49-F238E27FC236}">
                <a16:creationId xmlns:a16="http://schemas.microsoft.com/office/drawing/2014/main" id="{DD339FC5-084D-762A-9702-1BB75BB51892}"/>
              </a:ext>
            </a:extLst>
          </p:cNvPr>
          <p:cNvSpPr/>
          <p:nvPr/>
        </p:nvSpPr>
        <p:spPr>
          <a:xfrm>
            <a:off x="360441" y="20711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5" name="Freihandform: Form 4">
            <a:extLst>
              <a:ext uri="{FF2B5EF4-FFF2-40B4-BE49-F238E27FC236}">
                <a16:creationId xmlns:a16="http://schemas.microsoft.com/office/drawing/2014/main" id="{E1EC4A4C-71D2-470B-A720-47A1704FA9B0}"/>
              </a:ext>
            </a:extLst>
          </p:cNvPr>
          <p:cNvSpPr/>
          <p:nvPr/>
        </p:nvSpPr>
        <p:spPr>
          <a:xfrm>
            <a:off x="4685114" y="1109361"/>
            <a:ext cx="6410160" cy="3840370"/>
          </a:xfrm>
          <a:custGeom>
            <a:avLst/>
            <a:gdLst>
              <a:gd name="connsiteX0" fmla="*/ 0 w 7916092"/>
              <a:gd name="connsiteY0" fmla="*/ 3236 h 3582458"/>
              <a:gd name="connsiteX1" fmla="*/ 1010194 w 7916092"/>
              <a:gd name="connsiteY1" fmla="*/ 38070 h 3582458"/>
              <a:gd name="connsiteX2" fmla="*/ 2403566 w 7916092"/>
              <a:gd name="connsiteY2" fmla="*/ 273201 h 3582458"/>
              <a:gd name="connsiteX3" fmla="*/ 3500846 w 7916092"/>
              <a:gd name="connsiteY3" fmla="*/ 595418 h 3582458"/>
              <a:gd name="connsiteX4" fmla="*/ 4781006 w 7916092"/>
              <a:gd name="connsiteY4" fmla="*/ 1083098 h 3582458"/>
              <a:gd name="connsiteX5" fmla="*/ 6165669 w 7916092"/>
              <a:gd name="connsiteY5" fmla="*/ 1901704 h 3582458"/>
              <a:gd name="connsiteX6" fmla="*/ 7916092 w 7916092"/>
              <a:gd name="connsiteY6" fmla="*/ 3582458 h 358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6092" h="3582458">
                <a:moveTo>
                  <a:pt x="0" y="3236"/>
                </a:moveTo>
                <a:cubicBezTo>
                  <a:pt x="304800" y="-1844"/>
                  <a:pt x="609600" y="-6924"/>
                  <a:pt x="1010194" y="38070"/>
                </a:cubicBezTo>
                <a:cubicBezTo>
                  <a:pt x="1410788" y="83064"/>
                  <a:pt x="1988457" y="180310"/>
                  <a:pt x="2403566" y="273201"/>
                </a:cubicBezTo>
                <a:cubicBezTo>
                  <a:pt x="2818675" y="366092"/>
                  <a:pt x="3104606" y="460435"/>
                  <a:pt x="3500846" y="595418"/>
                </a:cubicBezTo>
                <a:cubicBezTo>
                  <a:pt x="3897086" y="730401"/>
                  <a:pt x="4336869" y="865384"/>
                  <a:pt x="4781006" y="1083098"/>
                </a:cubicBezTo>
                <a:cubicBezTo>
                  <a:pt x="5225143" y="1300812"/>
                  <a:pt x="5643155" y="1485144"/>
                  <a:pt x="6165669" y="1901704"/>
                </a:cubicBezTo>
                <a:cubicBezTo>
                  <a:pt x="6688183" y="2318264"/>
                  <a:pt x="7302137" y="2950361"/>
                  <a:pt x="7916092" y="3582458"/>
                </a:cubicBezTo>
              </a:path>
            </a:pathLst>
          </a:custGeom>
          <a:noFill/>
          <a:ln w="38100">
            <a:solidFill>
              <a:srgbClr val="EC2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Chevron 1">
            <a:extLst>
              <a:ext uri="{FF2B5EF4-FFF2-40B4-BE49-F238E27FC236}">
                <a16:creationId xmlns:a16="http://schemas.microsoft.com/office/drawing/2014/main" id="{71C54E72-C868-45B8-949B-BDF77D73CD9E}"/>
              </a:ext>
            </a:extLst>
          </p:cNvPr>
          <p:cNvSpPr/>
          <p:nvPr/>
        </p:nvSpPr>
        <p:spPr>
          <a:xfrm>
            <a:off x="3620875" y="2791617"/>
            <a:ext cx="1430861"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9" name="Chevron 2">
            <a:extLst>
              <a:ext uri="{FF2B5EF4-FFF2-40B4-BE49-F238E27FC236}">
                <a16:creationId xmlns:a16="http://schemas.microsoft.com/office/drawing/2014/main" id="{0472DFC4-E048-4156-BC78-0C783B7C5A6A}"/>
              </a:ext>
            </a:extLst>
          </p:cNvPr>
          <p:cNvSpPr/>
          <p:nvPr/>
        </p:nvSpPr>
        <p:spPr>
          <a:xfrm>
            <a:off x="5040982" y="2788364"/>
            <a:ext cx="1532910"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1" name="Chevron 4">
            <a:extLst>
              <a:ext uri="{FF2B5EF4-FFF2-40B4-BE49-F238E27FC236}">
                <a16:creationId xmlns:a16="http://schemas.microsoft.com/office/drawing/2014/main" id="{5F9281A0-5EDF-4FDA-8B8E-C28BC44AE788}"/>
              </a:ext>
            </a:extLst>
          </p:cNvPr>
          <p:cNvSpPr/>
          <p:nvPr/>
        </p:nvSpPr>
        <p:spPr>
          <a:xfrm>
            <a:off x="8010219" y="2788364"/>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2" name="Chevron 5">
            <a:extLst>
              <a:ext uri="{FF2B5EF4-FFF2-40B4-BE49-F238E27FC236}">
                <a16:creationId xmlns:a16="http://schemas.microsoft.com/office/drawing/2014/main" id="{24A78DDF-FA2D-4CD7-94EB-AFD2A81D7A1F}"/>
              </a:ext>
            </a:extLst>
          </p:cNvPr>
          <p:cNvSpPr/>
          <p:nvPr/>
        </p:nvSpPr>
        <p:spPr>
          <a:xfrm>
            <a:off x="9601575" y="2788385"/>
            <a:ext cx="1171798"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3" name="TextBox 14">
            <a:extLst>
              <a:ext uri="{FF2B5EF4-FFF2-40B4-BE49-F238E27FC236}">
                <a16:creationId xmlns:a16="http://schemas.microsoft.com/office/drawing/2014/main" id="{B94D7029-D2DD-488F-8259-9736B62A033E}"/>
              </a:ext>
            </a:extLst>
          </p:cNvPr>
          <p:cNvSpPr txBox="1"/>
          <p:nvPr/>
        </p:nvSpPr>
        <p:spPr>
          <a:xfrm>
            <a:off x="3714907" y="2822001"/>
            <a:ext cx="132601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των ενδιαφερομένων μερών</a:t>
            </a:r>
          </a:p>
        </p:txBody>
      </p:sp>
      <p:sp>
        <p:nvSpPr>
          <p:cNvPr id="34" name="TextBox 15">
            <a:extLst>
              <a:ext uri="{FF2B5EF4-FFF2-40B4-BE49-F238E27FC236}">
                <a16:creationId xmlns:a16="http://schemas.microsoft.com/office/drawing/2014/main" id="{08CCDFD3-8A36-4683-8CC7-0BCDC7269412}"/>
              </a:ext>
            </a:extLst>
          </p:cNvPr>
          <p:cNvSpPr txBox="1"/>
          <p:nvPr/>
        </p:nvSpPr>
        <p:spPr>
          <a:xfrm>
            <a:off x="5158912" y="2941770"/>
            <a:ext cx="1499829"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Στρατηγική Κρίση</a:t>
            </a:r>
          </a:p>
        </p:txBody>
      </p:sp>
      <p:sp>
        <p:nvSpPr>
          <p:cNvPr id="36" name="TextBox 16">
            <a:extLst>
              <a:ext uri="{FF2B5EF4-FFF2-40B4-BE49-F238E27FC236}">
                <a16:creationId xmlns:a16="http://schemas.microsoft.com/office/drawing/2014/main" id="{5362C0FD-94DC-4DF8-B5AA-07241BFC043C}"/>
              </a:ext>
            </a:extLst>
          </p:cNvPr>
          <p:cNvSpPr txBox="1"/>
          <p:nvPr/>
        </p:nvSpPr>
        <p:spPr>
          <a:xfrm>
            <a:off x="6696390" y="2829716"/>
            <a:ext cx="123579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προϊόντος/πωλήσεων</a:t>
            </a:r>
          </a:p>
        </p:txBody>
      </p:sp>
      <p:sp>
        <p:nvSpPr>
          <p:cNvPr id="37" name="TextBox 17">
            <a:extLst>
              <a:ext uri="{FF2B5EF4-FFF2-40B4-BE49-F238E27FC236}">
                <a16:creationId xmlns:a16="http://schemas.microsoft.com/office/drawing/2014/main" id="{FD928C53-65AA-4012-878C-5ACFF4690233}"/>
              </a:ext>
            </a:extLst>
          </p:cNvPr>
          <p:cNvSpPr txBox="1"/>
          <p:nvPr/>
        </p:nvSpPr>
        <p:spPr>
          <a:xfrm>
            <a:off x="8292504" y="2814318"/>
            <a:ext cx="956086"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κερδών</a:t>
            </a:r>
          </a:p>
        </p:txBody>
      </p:sp>
      <p:sp>
        <p:nvSpPr>
          <p:cNvPr id="38" name="TextBox 18">
            <a:extLst>
              <a:ext uri="{FF2B5EF4-FFF2-40B4-BE49-F238E27FC236}">
                <a16:creationId xmlns:a16="http://schemas.microsoft.com/office/drawing/2014/main" id="{AD22DD85-8600-4DF2-B57D-D0E8F8C4397F}"/>
              </a:ext>
            </a:extLst>
          </p:cNvPr>
          <p:cNvSpPr txBox="1"/>
          <p:nvPr/>
        </p:nvSpPr>
        <p:spPr>
          <a:xfrm>
            <a:off x="9753821" y="2823627"/>
            <a:ext cx="1072733"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ρευστότητας</a:t>
            </a:r>
          </a:p>
        </p:txBody>
      </p:sp>
      <p:sp>
        <p:nvSpPr>
          <p:cNvPr id="94" name="Chevron 5">
            <a:extLst>
              <a:ext uri="{FF2B5EF4-FFF2-40B4-BE49-F238E27FC236}">
                <a16:creationId xmlns:a16="http://schemas.microsoft.com/office/drawing/2014/main" id="{F33C78D5-AC66-4086-A1FA-413217D9804A}"/>
              </a:ext>
            </a:extLst>
          </p:cNvPr>
          <p:cNvSpPr/>
          <p:nvPr/>
        </p:nvSpPr>
        <p:spPr>
          <a:xfrm>
            <a:off x="10887507" y="2792385"/>
            <a:ext cx="1171798"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95" name="TextBox 18">
            <a:extLst>
              <a:ext uri="{FF2B5EF4-FFF2-40B4-BE49-F238E27FC236}">
                <a16:creationId xmlns:a16="http://schemas.microsoft.com/office/drawing/2014/main" id="{6660D43C-EC14-49C7-B62E-8417A8F48B7A}"/>
              </a:ext>
            </a:extLst>
          </p:cNvPr>
          <p:cNvSpPr txBox="1"/>
          <p:nvPr/>
        </p:nvSpPr>
        <p:spPr>
          <a:xfrm>
            <a:off x="11017266" y="2927925"/>
            <a:ext cx="1051803"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Αφερεγγυότητα</a:t>
            </a:r>
          </a:p>
        </p:txBody>
      </p:sp>
      <p:sp>
        <p:nvSpPr>
          <p:cNvPr id="6" name="Rechteck 5">
            <a:extLst>
              <a:ext uri="{FF2B5EF4-FFF2-40B4-BE49-F238E27FC236}">
                <a16:creationId xmlns:a16="http://schemas.microsoft.com/office/drawing/2014/main" id="{7E5B9861-52F0-4725-BFA9-9895CF3A593B}"/>
              </a:ext>
            </a:extLst>
          </p:cNvPr>
          <p:cNvSpPr/>
          <p:nvPr/>
        </p:nvSpPr>
        <p:spPr>
          <a:xfrm>
            <a:off x="3607827" y="3433440"/>
            <a:ext cx="1453094" cy="3046988"/>
          </a:xfrm>
          <a:prstGeom prst="rect">
            <a:avLst/>
          </a:prstGeom>
        </p:spPr>
        <p:txBody>
          <a:bodyPr wrap="square">
            <a:spAutoFit/>
          </a:bodyPr>
          <a:lstStyle/>
          <a:p>
            <a:pPr marL="177800" indent="-177800">
              <a:buClr>
                <a:srgbClr val="595959"/>
              </a:buClr>
              <a:buFont typeface="Arial" panose="020B0604020202020204" pitchFamily="34" charset="0"/>
              <a:buChar char="•"/>
            </a:pPr>
            <a:r>
              <a:rPr lang="en-GB" sz="1200" dirty="0">
                <a:solidFill>
                  <a:srgbClr val="595959"/>
                </a:solidFill>
              </a:rPr>
              <a:t>Βιώσιμη </a:t>
            </a:r>
          </a:p>
          <a:p>
            <a:pPr marL="177800" indent="-177800">
              <a:buClr>
                <a:srgbClr val="595959"/>
              </a:buClr>
              <a:buFont typeface="Arial" panose="020B0604020202020204" pitchFamily="34" charset="0"/>
              <a:buChar char="•"/>
            </a:pPr>
            <a:r>
              <a:rPr lang="en-GB" sz="1200" dirty="0">
                <a:solidFill>
                  <a:srgbClr val="595959"/>
                </a:solidFill>
              </a:rPr>
              <a:t>συγκρούσεις στο </a:t>
            </a:r>
            <a:br>
              <a:rPr lang="en-GB" sz="1200" dirty="0">
                <a:solidFill>
                  <a:srgbClr val="595959"/>
                </a:solidFill>
              </a:rPr>
            </a:br>
            <a:r>
              <a:rPr lang="en-GB" sz="1200" dirty="0">
                <a:solidFill>
                  <a:srgbClr val="595959"/>
                </a:solidFill>
              </a:rPr>
              <a:t>σε επίπεδο ενδιαφερομένων: </a:t>
            </a:r>
            <a:r>
              <a:rPr lang="en-GB" sz="1200" dirty="0">
                <a:solidFill>
                  <a:srgbClr val="595959"/>
                </a:solidFill>
                <a:ea typeface="Lato Light" panose="020F0502020204030203" pitchFamily="34" charset="0"/>
                <a:cs typeface="Mukta ExtraLight" panose="020B0000000000000000" pitchFamily="34" charset="77"/>
              </a:rPr>
              <a:t>Αποκλεισμός της </a:t>
            </a:r>
          </a:p>
          <a:p>
            <a:pPr marL="177800" indent="-177800">
              <a:buClr>
                <a:srgbClr val="595959"/>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βασικές αποφάσεις</a:t>
            </a:r>
          </a:p>
          <a:p>
            <a:pPr marL="177800" indent="-177800">
              <a:buClr>
                <a:srgbClr val="595959"/>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Αποδοχή αρνητικών εξελίξεων</a:t>
            </a:r>
          </a:p>
          <a:p>
            <a:pPr marL="177800" indent="-177800">
              <a:buClr>
                <a:srgbClr val="595959"/>
              </a:buClr>
              <a:buFont typeface="Arial" panose="020B0604020202020204" pitchFamily="34" charset="0"/>
              <a:buChar char="•"/>
            </a:pPr>
            <a:endParaRPr lang="en-GB" sz="1500" dirty="0">
              <a:solidFill>
                <a:srgbClr val="595959"/>
              </a:solidFill>
              <a:ea typeface="Lato Light" panose="020F0502020204030203" pitchFamily="34" charset="0"/>
              <a:cs typeface="Mukta ExtraLight" panose="020B0000000000000000" pitchFamily="34" charset="77"/>
            </a:endParaRPr>
          </a:p>
          <a:p>
            <a:pPr marL="177800" indent="-177800">
              <a:buClr>
                <a:srgbClr val="595959"/>
              </a:buClr>
              <a:buFont typeface="Arial" panose="020B0604020202020204" pitchFamily="34" charset="0"/>
              <a:buChar char="•"/>
            </a:pPr>
            <a:endParaRPr lang="en-GB" sz="1500" dirty="0">
              <a:solidFill>
                <a:srgbClr val="595959"/>
              </a:solidFill>
            </a:endParaRPr>
          </a:p>
          <a:p>
            <a:pPr marL="177800" indent="-177800">
              <a:lnSpc>
                <a:spcPct val="100000"/>
              </a:lnSpc>
              <a:spcBef>
                <a:spcPts val="0"/>
              </a:spcBef>
              <a:buClr>
                <a:srgbClr val="595959"/>
              </a:buClr>
              <a:buFont typeface="Arial" panose="020B0604020202020204" pitchFamily="34" charset="0"/>
              <a:buChar char="•"/>
            </a:pPr>
            <a:endParaRPr lang="en-GB" sz="1500" dirty="0">
              <a:solidFill>
                <a:srgbClr val="595959"/>
              </a:solidFill>
              <a:ea typeface="Lato Light" panose="020F0502020204030203" pitchFamily="34" charset="0"/>
              <a:cs typeface="Mukta ExtraLight" panose="020B0000000000000000" pitchFamily="34" charset="77"/>
            </a:endParaRPr>
          </a:p>
          <a:p>
            <a:pPr marL="177800" indent="-177800">
              <a:lnSpc>
                <a:spcPct val="100000"/>
              </a:lnSpc>
              <a:spcBef>
                <a:spcPts val="0"/>
              </a:spcBef>
              <a:buClr>
                <a:srgbClr val="595959"/>
              </a:buClr>
              <a:buFont typeface="Arial" panose="020B0604020202020204" pitchFamily="34" charset="0"/>
              <a:buChar char="•"/>
            </a:pPr>
            <a:endParaRPr lang="en-GB" sz="1500" dirty="0">
              <a:solidFill>
                <a:srgbClr val="595959"/>
              </a:solidFill>
              <a:ea typeface="Lato Light" panose="020F0502020204030203" pitchFamily="34" charset="0"/>
              <a:cs typeface="Mukta ExtraLight" panose="020B0000000000000000" pitchFamily="34" charset="77"/>
            </a:endParaRPr>
          </a:p>
        </p:txBody>
      </p:sp>
      <p:sp>
        <p:nvSpPr>
          <p:cNvPr id="100" name="Rechteck 99">
            <a:extLst>
              <a:ext uri="{FF2B5EF4-FFF2-40B4-BE49-F238E27FC236}">
                <a16:creationId xmlns:a16="http://schemas.microsoft.com/office/drawing/2014/main" id="{35295EFB-6AE9-446B-AEB3-62D499AE87A3}"/>
              </a:ext>
            </a:extLst>
          </p:cNvPr>
          <p:cNvSpPr/>
          <p:nvPr/>
        </p:nvSpPr>
        <p:spPr>
          <a:xfrm>
            <a:off x="4980032" y="3428124"/>
            <a:ext cx="1632188" cy="2908489"/>
          </a:xfrm>
          <a:prstGeom prst="rect">
            <a:avLst/>
          </a:prstGeom>
        </p:spPr>
        <p:txBody>
          <a:bodyPr wrap="square">
            <a:spAutoFit/>
          </a:bodyPr>
          <a:lstStyle/>
          <a:p>
            <a:pPr marL="177800" indent="-177800">
              <a:lnSpc>
                <a:spcPct val="100000"/>
              </a:lnSpc>
              <a:spcBef>
                <a:spcPts val="0"/>
              </a:spcBef>
              <a:buClr>
                <a:srgbClr val="7F1C58"/>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Δεν υπάρχει σαφές όραμα</a:t>
            </a:r>
          </a:p>
          <a:p>
            <a:pPr marL="177800" indent="-177800">
              <a:lnSpc>
                <a:spcPct val="100000"/>
              </a:lnSpc>
              <a:spcBef>
                <a:spcPts val="0"/>
              </a:spcBef>
              <a:buClr>
                <a:srgbClr val="7F1C58"/>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Ανεπαρκής προσανατολισμός στον πελάτη</a:t>
            </a:r>
          </a:p>
          <a:p>
            <a:pPr marL="177800" indent="-177800">
              <a:lnSpc>
                <a:spcPct val="100000"/>
              </a:lnSpc>
              <a:spcBef>
                <a:spcPts val="0"/>
              </a:spcBef>
              <a:buClr>
                <a:srgbClr val="7F1C58"/>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Προϊόντα στη λήξη</a:t>
            </a:r>
          </a:p>
          <a:p>
            <a:pPr marL="177800" indent="-177800">
              <a:lnSpc>
                <a:spcPct val="100000"/>
              </a:lnSpc>
              <a:spcBef>
                <a:spcPts val="0"/>
              </a:spcBef>
              <a:buClr>
                <a:srgbClr val="7F1C58"/>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Παραληφθείσες τεχνολογικές εξελίξεις / ανεπαρκής κάθετη ολοκλήρωση</a:t>
            </a:r>
          </a:p>
          <a:p>
            <a:pPr marL="177800" indent="-177800">
              <a:lnSpc>
                <a:spcPct val="100000"/>
              </a:lnSpc>
              <a:spcBef>
                <a:spcPts val="0"/>
              </a:spcBef>
              <a:buClr>
                <a:srgbClr val="7F1C58"/>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Η εταιρεία εξακολουθεί να έχει κέρδη</a:t>
            </a:r>
          </a:p>
          <a:p>
            <a:pPr marL="177800" indent="-177800">
              <a:lnSpc>
                <a:spcPct val="100000"/>
              </a:lnSpc>
              <a:spcBef>
                <a:spcPts val="0"/>
              </a:spcBef>
              <a:buClr>
                <a:srgbClr val="7F1C58"/>
              </a:buClr>
              <a:buFont typeface="Arial" panose="020B0604020202020204" pitchFamily="34" charset="0"/>
              <a:buChar char="•"/>
            </a:pPr>
            <a:endParaRPr lang="en-GB" sz="1500" dirty="0">
              <a:solidFill>
                <a:srgbClr val="595959"/>
              </a:solidFill>
              <a:ea typeface="Lato Light" panose="020F0502020204030203" pitchFamily="34" charset="0"/>
              <a:cs typeface="Mukta ExtraLight" panose="020B0000000000000000" pitchFamily="34" charset="77"/>
            </a:endParaRPr>
          </a:p>
        </p:txBody>
      </p:sp>
      <p:sp>
        <p:nvSpPr>
          <p:cNvPr id="101" name="Rechteck 100">
            <a:extLst>
              <a:ext uri="{FF2B5EF4-FFF2-40B4-BE49-F238E27FC236}">
                <a16:creationId xmlns:a16="http://schemas.microsoft.com/office/drawing/2014/main" id="{1D942A23-51BD-43BD-86AF-D85DCF0E24CB}"/>
              </a:ext>
            </a:extLst>
          </p:cNvPr>
          <p:cNvSpPr/>
          <p:nvPr/>
        </p:nvSpPr>
        <p:spPr>
          <a:xfrm>
            <a:off x="6479760" y="3461073"/>
            <a:ext cx="1632187" cy="2862322"/>
          </a:xfrm>
          <a:prstGeom prst="rect">
            <a:avLst/>
          </a:prstGeom>
        </p:spPr>
        <p:txBody>
          <a:bodyPr wrap="square">
            <a:spAutoFit/>
          </a:bodyPr>
          <a:lstStyle/>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Μείωση των πωλήσεων</a:t>
            </a:r>
          </a:p>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Πίεση τιμών και περιθωρίου κέρδους</a:t>
            </a:r>
          </a:p>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Αύξηση των αποθεμάτων </a:t>
            </a:r>
          </a:p>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Δεσμευμένο κεφάλαιο</a:t>
            </a:r>
          </a:p>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Υποαπασχόληση της δυναμικότητας</a:t>
            </a:r>
          </a:p>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Μείωση των κερδών εάν δεν εφαρμοστούν αντίμετρα</a:t>
            </a:r>
          </a:p>
        </p:txBody>
      </p:sp>
      <p:sp>
        <p:nvSpPr>
          <p:cNvPr id="102" name="Rechteck 101">
            <a:extLst>
              <a:ext uri="{FF2B5EF4-FFF2-40B4-BE49-F238E27FC236}">
                <a16:creationId xmlns:a16="http://schemas.microsoft.com/office/drawing/2014/main" id="{D6342427-0503-43DB-8E05-B262B7CBECB5}"/>
              </a:ext>
            </a:extLst>
          </p:cNvPr>
          <p:cNvSpPr/>
          <p:nvPr/>
        </p:nvSpPr>
        <p:spPr>
          <a:xfrm>
            <a:off x="7962112" y="3448787"/>
            <a:ext cx="1504122" cy="3231654"/>
          </a:xfrm>
          <a:prstGeom prst="rect">
            <a:avLst/>
          </a:prstGeom>
        </p:spPr>
        <p:txBody>
          <a:bodyPr wrap="square">
            <a:spAutoFit/>
          </a:bodyPr>
          <a:lstStyle/>
          <a:p>
            <a:pPr marL="177800" indent="-177800">
              <a:lnSpc>
                <a:spcPct val="100000"/>
              </a:lnSpc>
              <a:spcBef>
                <a:spcPts val="0"/>
              </a:spcBef>
              <a:buClr>
                <a:srgbClr val="F16924"/>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Η μείωση των πωλήσεων συνεχίζεται</a:t>
            </a:r>
          </a:p>
          <a:p>
            <a:pPr marL="177800" indent="-177800">
              <a:lnSpc>
                <a:spcPct val="100000"/>
              </a:lnSpc>
              <a:spcBef>
                <a:spcPts val="0"/>
              </a:spcBef>
              <a:buClr>
                <a:srgbClr val="F16924"/>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Η εταιρεία αντιδρά με περικοπές κόστους</a:t>
            </a:r>
          </a:p>
          <a:p>
            <a:pPr marL="177800" indent="-177800">
              <a:lnSpc>
                <a:spcPct val="100000"/>
              </a:lnSpc>
              <a:spcBef>
                <a:spcPts val="0"/>
              </a:spcBef>
              <a:buClr>
                <a:srgbClr val="F16924"/>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Μείωση κερδών, ζημιών, μείωση ιδίων κεφαλαίων</a:t>
            </a:r>
          </a:p>
          <a:p>
            <a:pPr marL="177800" indent="-177800">
              <a:lnSpc>
                <a:spcPct val="100000"/>
              </a:lnSpc>
              <a:spcBef>
                <a:spcPts val="0"/>
              </a:spcBef>
              <a:buClr>
                <a:srgbClr val="F16924"/>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Η άντληση κεφαλαίων γίνεται πιο δύσκολη (υποβάθμιση της πιστοληπτικής ικανότητας)</a:t>
            </a:r>
          </a:p>
        </p:txBody>
      </p:sp>
      <p:sp>
        <p:nvSpPr>
          <p:cNvPr id="103" name="Rechteck 102">
            <a:extLst>
              <a:ext uri="{FF2B5EF4-FFF2-40B4-BE49-F238E27FC236}">
                <a16:creationId xmlns:a16="http://schemas.microsoft.com/office/drawing/2014/main" id="{63C9B1BE-D169-4503-BC3E-DB335A86F803}"/>
              </a:ext>
            </a:extLst>
          </p:cNvPr>
          <p:cNvSpPr/>
          <p:nvPr/>
        </p:nvSpPr>
        <p:spPr>
          <a:xfrm>
            <a:off x="9510183" y="505707"/>
            <a:ext cx="1388497" cy="2308324"/>
          </a:xfrm>
          <a:prstGeom prst="rect">
            <a:avLst/>
          </a:prstGeom>
        </p:spPr>
        <p:txBody>
          <a:bodyPr wrap="square">
            <a:spAutoFit/>
          </a:bodyPr>
          <a:lstStyle/>
          <a:p>
            <a:pPr marL="177800" indent="-177800">
              <a:lnSpc>
                <a:spcPct val="100000"/>
              </a:lnSpc>
              <a:spcBef>
                <a:spcPts val="0"/>
              </a:spcBef>
              <a:buClr>
                <a:srgbClr val="EDA13E"/>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Χρησιμοποιημένες πιστωτικές γραμμές</a:t>
            </a:r>
          </a:p>
          <a:p>
            <a:pPr marL="177800" indent="-177800">
              <a:lnSpc>
                <a:spcPct val="100000"/>
              </a:lnSpc>
              <a:spcBef>
                <a:spcPts val="0"/>
              </a:spcBef>
              <a:buClr>
                <a:srgbClr val="EDA13E"/>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Παραίτηση από εκπτώσεις</a:t>
            </a:r>
          </a:p>
          <a:p>
            <a:pPr marL="177800" indent="-177800">
              <a:lnSpc>
                <a:spcPct val="100000"/>
              </a:lnSpc>
              <a:spcBef>
                <a:spcPts val="0"/>
              </a:spcBef>
              <a:buClr>
                <a:srgbClr val="EDA13E"/>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Αύξηση των υποχρεώσεων λόγω</a:t>
            </a:r>
          </a:p>
          <a:p>
            <a:pPr marL="177800" indent="-177800">
              <a:lnSpc>
                <a:spcPct val="100000"/>
              </a:lnSpc>
              <a:spcBef>
                <a:spcPts val="0"/>
              </a:spcBef>
              <a:buClr>
                <a:srgbClr val="EDA13E"/>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Καθυστέρηση πληρωμής</a:t>
            </a:r>
          </a:p>
          <a:p>
            <a:pPr marL="177800" indent="-177800">
              <a:lnSpc>
                <a:spcPct val="100000"/>
              </a:lnSpc>
              <a:spcBef>
                <a:spcPts val="0"/>
              </a:spcBef>
              <a:buClr>
                <a:srgbClr val="EDA13E"/>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Εμπόδια στον εφοδιασμό</a:t>
            </a:r>
          </a:p>
        </p:txBody>
      </p:sp>
      <p:sp>
        <p:nvSpPr>
          <p:cNvPr id="104" name="Rechteck 103">
            <a:extLst>
              <a:ext uri="{FF2B5EF4-FFF2-40B4-BE49-F238E27FC236}">
                <a16:creationId xmlns:a16="http://schemas.microsoft.com/office/drawing/2014/main" id="{C59AC022-CFAC-4D2A-9095-38D49BA99D19}"/>
              </a:ext>
            </a:extLst>
          </p:cNvPr>
          <p:cNvSpPr/>
          <p:nvPr/>
        </p:nvSpPr>
        <p:spPr>
          <a:xfrm>
            <a:off x="10737540" y="954882"/>
            <a:ext cx="1388496" cy="1384995"/>
          </a:xfrm>
          <a:prstGeom prst="rect">
            <a:avLst/>
          </a:prstGeom>
        </p:spPr>
        <p:txBody>
          <a:bodyPr wrap="square">
            <a:spAutoFit/>
          </a:bodyPr>
          <a:lstStyle/>
          <a:p>
            <a:pPr marL="177800" indent="-177800">
              <a:lnSpc>
                <a:spcPct val="100000"/>
              </a:lnSpc>
              <a:spcBef>
                <a:spcPts val="0"/>
              </a:spcBef>
              <a:buClr>
                <a:srgbClr val="EDA13E"/>
              </a:buClr>
              <a:buSzPct val="80000"/>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Κίνδυνος αφερεγγυότητας</a:t>
            </a:r>
          </a:p>
          <a:p>
            <a:pPr marL="177800" indent="-177800">
              <a:lnSpc>
                <a:spcPct val="100000"/>
              </a:lnSpc>
              <a:spcBef>
                <a:spcPts val="0"/>
              </a:spcBef>
              <a:buClr>
                <a:srgbClr val="EDA13E"/>
              </a:buClr>
              <a:buSzPct val="80000"/>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Επικείμενη αφερεγγυότητα</a:t>
            </a:r>
          </a:p>
          <a:p>
            <a:pPr marL="177800" indent="-177800">
              <a:lnSpc>
                <a:spcPct val="100000"/>
              </a:lnSpc>
              <a:spcBef>
                <a:spcPts val="0"/>
              </a:spcBef>
              <a:buClr>
                <a:srgbClr val="EDA13E"/>
              </a:buClr>
              <a:buSzPct val="80000"/>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Υπερχρέωση</a:t>
            </a:r>
          </a:p>
          <a:p>
            <a:pPr marL="177800" indent="-177800">
              <a:lnSpc>
                <a:spcPct val="100000"/>
              </a:lnSpc>
              <a:spcBef>
                <a:spcPts val="0"/>
              </a:spcBef>
              <a:buClr>
                <a:srgbClr val="EDA13E"/>
              </a:buClr>
              <a:buSzPct val="80000"/>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Αφερεγγυότητα</a:t>
            </a:r>
          </a:p>
        </p:txBody>
      </p:sp>
      <p:sp>
        <p:nvSpPr>
          <p:cNvPr id="106" name="Textplatzhalter 3">
            <a:extLst>
              <a:ext uri="{FF2B5EF4-FFF2-40B4-BE49-F238E27FC236}">
                <a16:creationId xmlns:a16="http://schemas.microsoft.com/office/drawing/2014/main" id="{B19B36E7-E4F4-4270-B7C5-1A2C08CF1EF4}"/>
              </a:ext>
            </a:extLst>
          </p:cNvPr>
          <p:cNvSpPr txBox="1">
            <a:spLocks/>
          </p:cNvSpPr>
          <p:nvPr/>
        </p:nvSpPr>
        <p:spPr>
          <a:xfrm>
            <a:off x="3654352" y="612623"/>
            <a:ext cx="3574870" cy="74755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000" b="1" dirty="0"/>
              <a:t>Έσοδα / Κέρδη / Ρευστότητα</a:t>
            </a:r>
          </a:p>
        </p:txBody>
      </p:sp>
    </p:spTree>
    <p:extLst>
      <p:ext uri="{BB962C8B-B14F-4D97-AF65-F5344CB8AC3E}">
        <p14:creationId xmlns:p14="http://schemas.microsoft.com/office/powerpoint/2010/main" val="31516004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6" name="Rechteck 5">
            <a:extLst>
              <a:ext uri="{FF2B5EF4-FFF2-40B4-BE49-F238E27FC236}">
                <a16:creationId xmlns:a16="http://schemas.microsoft.com/office/drawing/2014/main" id="{7E5B9861-52F0-4725-BFA9-9895CF3A593B}"/>
              </a:ext>
            </a:extLst>
          </p:cNvPr>
          <p:cNvSpPr/>
          <p:nvPr/>
        </p:nvSpPr>
        <p:spPr>
          <a:xfrm>
            <a:off x="3615919" y="1338160"/>
            <a:ext cx="1502817" cy="864467"/>
          </a:xfrm>
          <a:prstGeom prst="rect">
            <a:avLst/>
          </a:prstGeom>
        </p:spPr>
        <p:txBody>
          <a:bodyPr wrap="square">
            <a:spAutoFit/>
          </a:bodyPr>
          <a:lstStyle/>
          <a:p>
            <a:pPr>
              <a:lnSpc>
                <a:spcPts val="1500"/>
              </a:lnSpc>
            </a:pP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Αβεβαιότητα σχετικά με τη διαδοχή/διαχείριση</a:t>
            </a:r>
          </a:p>
        </p:txBody>
      </p:sp>
      <p:sp>
        <p:nvSpPr>
          <p:cNvPr id="26" name="Rechteck 25">
            <a:extLst>
              <a:ext uri="{FF2B5EF4-FFF2-40B4-BE49-F238E27FC236}">
                <a16:creationId xmlns:a16="http://schemas.microsoft.com/office/drawing/2014/main" id="{FE6DBDB5-200C-49D0-8672-82ECAFEB45D3}"/>
              </a:ext>
            </a:extLst>
          </p:cNvPr>
          <p:cNvSpPr/>
          <p:nvPr/>
        </p:nvSpPr>
        <p:spPr>
          <a:xfrm>
            <a:off x="5064726" y="1321675"/>
            <a:ext cx="1225066" cy="672107"/>
          </a:xfrm>
          <a:prstGeom prst="rect">
            <a:avLst/>
          </a:prstGeom>
        </p:spPr>
        <p:txBody>
          <a:bodyPr wrap="square">
            <a:spAutoFit/>
          </a:bodyPr>
          <a:lstStyle/>
          <a:p>
            <a:pPr>
              <a:lnSpc>
                <a:spcPts val="1500"/>
              </a:lnSpc>
            </a:pP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Όχι / λανθασμένη δήλωση αποστολής</a:t>
            </a:r>
          </a:p>
        </p:txBody>
      </p:sp>
      <p:sp>
        <p:nvSpPr>
          <p:cNvPr id="35" name="Rechteck 34">
            <a:extLst>
              <a:ext uri="{FF2B5EF4-FFF2-40B4-BE49-F238E27FC236}">
                <a16:creationId xmlns:a16="http://schemas.microsoft.com/office/drawing/2014/main" id="{7E5D35FD-2CFF-4351-A969-12C13ED596C2}"/>
              </a:ext>
            </a:extLst>
          </p:cNvPr>
          <p:cNvSpPr/>
          <p:nvPr/>
        </p:nvSpPr>
        <p:spPr>
          <a:xfrm>
            <a:off x="6451181" y="1321675"/>
            <a:ext cx="1703975" cy="584775"/>
          </a:xfrm>
          <a:prstGeom prst="rect">
            <a:avLst/>
          </a:prstGeom>
        </p:spPr>
        <p:txBody>
          <a:bodyPr wrap="square">
            <a:spAutoFit/>
          </a:bodyPr>
          <a:lstStyle/>
          <a:p>
            <a:r>
              <a:rPr lang="en-GB" sz="1600" b="1" dirty="0">
                <a:solidFill>
                  <a:srgbClr val="245473"/>
                </a:solidFill>
                <a:latin typeface="Calibri" panose="020F0502020204030204" pitchFamily="34" charset="0"/>
                <a:ea typeface="Lato Light" panose="020F0502020204030203" pitchFamily="34" charset="0"/>
                <a:cs typeface="Calibri" panose="020F0502020204030204" pitchFamily="34" charset="0"/>
              </a:rPr>
              <a:t>Καμία ανταγωνιστικότητα</a:t>
            </a:r>
          </a:p>
        </p:txBody>
      </p:sp>
      <p:sp>
        <p:nvSpPr>
          <p:cNvPr id="39" name="Rechteck 38">
            <a:extLst>
              <a:ext uri="{FF2B5EF4-FFF2-40B4-BE49-F238E27FC236}">
                <a16:creationId xmlns:a16="http://schemas.microsoft.com/office/drawing/2014/main" id="{F2AC4BB7-8053-4E6B-9053-7883BBAD7D9B}"/>
              </a:ext>
            </a:extLst>
          </p:cNvPr>
          <p:cNvSpPr/>
          <p:nvPr/>
        </p:nvSpPr>
        <p:spPr>
          <a:xfrm>
            <a:off x="8134081" y="1153126"/>
            <a:ext cx="1425050" cy="1049502"/>
          </a:xfrm>
          <a:prstGeom prst="rect">
            <a:avLst/>
          </a:prstGeom>
        </p:spPr>
        <p:txBody>
          <a:bodyPr wrap="square">
            <a:spAutoFit/>
          </a:bodyPr>
          <a:lstStyle/>
          <a:p>
            <a:pPr>
              <a:lnSpc>
                <a:spcPts val="1500"/>
              </a:lnSpc>
            </a:pP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Κατανάλωση περιουσιακών στοιχείων (μείωση ιδίων κεφαλαίων ...)</a:t>
            </a:r>
          </a:p>
        </p:txBody>
      </p:sp>
      <p:sp>
        <p:nvSpPr>
          <p:cNvPr id="40" name="Rechteck 39">
            <a:extLst>
              <a:ext uri="{FF2B5EF4-FFF2-40B4-BE49-F238E27FC236}">
                <a16:creationId xmlns:a16="http://schemas.microsoft.com/office/drawing/2014/main" id="{E9567923-419A-45FD-83E2-69E52A7FC897}"/>
              </a:ext>
            </a:extLst>
          </p:cNvPr>
          <p:cNvSpPr/>
          <p:nvPr/>
        </p:nvSpPr>
        <p:spPr>
          <a:xfrm>
            <a:off x="9724506" y="864064"/>
            <a:ext cx="1125239" cy="1249188"/>
          </a:xfrm>
          <a:prstGeom prst="rect">
            <a:avLst/>
          </a:prstGeom>
        </p:spPr>
        <p:txBody>
          <a:bodyPr wrap="square">
            <a:spAutoFit/>
          </a:bodyPr>
          <a:lstStyle/>
          <a:p>
            <a:pPr>
              <a:lnSpc>
                <a:spcPts val="1500"/>
              </a:lnSpc>
            </a:pP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Δεν υπάρχουν αποθεματικά/οικονομικό πεδίο εφαρμογής</a:t>
            </a:r>
          </a:p>
        </p:txBody>
      </p:sp>
      <p:sp>
        <p:nvSpPr>
          <p:cNvPr id="41" name="Rechteck 40">
            <a:extLst>
              <a:ext uri="{FF2B5EF4-FFF2-40B4-BE49-F238E27FC236}">
                <a16:creationId xmlns:a16="http://schemas.microsoft.com/office/drawing/2014/main" id="{035EA290-C7C4-4B91-AC49-F5A0E3A81D1D}"/>
              </a:ext>
            </a:extLst>
          </p:cNvPr>
          <p:cNvSpPr/>
          <p:nvPr/>
        </p:nvSpPr>
        <p:spPr>
          <a:xfrm>
            <a:off x="11060061" y="1338160"/>
            <a:ext cx="1171799" cy="864467"/>
          </a:xfrm>
          <a:prstGeom prst="rect">
            <a:avLst/>
          </a:prstGeom>
        </p:spPr>
        <p:txBody>
          <a:bodyPr wrap="square">
            <a:spAutoFit/>
          </a:bodyPr>
          <a:lstStyle/>
          <a:p>
            <a:pPr>
              <a:lnSpc>
                <a:spcPts val="1500"/>
              </a:lnSpc>
            </a:pPr>
            <a:r>
              <a:rPr lang="en-GB" sz="1500" b="1" dirty="0">
                <a:solidFill>
                  <a:srgbClr val="E53292"/>
                </a:solidFill>
                <a:latin typeface="Calibri" panose="020F0502020204030204" pitchFamily="34" charset="0"/>
                <a:ea typeface="Lato Light" panose="020F0502020204030203" pitchFamily="34" charset="0"/>
                <a:cs typeface="Calibri" panose="020F0502020204030204" pitchFamily="34" charset="0"/>
              </a:rPr>
              <a:t>Απώλεια εξουσίας λήψης αποφάσεων</a:t>
            </a:r>
          </a:p>
        </p:txBody>
      </p:sp>
      <p:sp>
        <p:nvSpPr>
          <p:cNvPr id="2" name="Pfeil: nach oben gekrümmt 1">
            <a:extLst>
              <a:ext uri="{FF2B5EF4-FFF2-40B4-BE49-F238E27FC236}">
                <a16:creationId xmlns:a16="http://schemas.microsoft.com/office/drawing/2014/main" id="{6E760E75-52F2-4A7A-97AF-F10AE570478C}"/>
              </a:ext>
            </a:extLst>
          </p:cNvPr>
          <p:cNvSpPr/>
          <p:nvPr/>
        </p:nvSpPr>
        <p:spPr>
          <a:xfrm>
            <a:off x="4510605" y="2255812"/>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2" name="Pfeil: nach oben gekrümmt 41">
            <a:extLst>
              <a:ext uri="{FF2B5EF4-FFF2-40B4-BE49-F238E27FC236}">
                <a16:creationId xmlns:a16="http://schemas.microsoft.com/office/drawing/2014/main" id="{356129D2-A434-41CF-A81B-933861D5EA3C}"/>
              </a:ext>
            </a:extLst>
          </p:cNvPr>
          <p:cNvSpPr/>
          <p:nvPr/>
        </p:nvSpPr>
        <p:spPr>
          <a:xfrm>
            <a:off x="5961826" y="2265699"/>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3" name="Pfeil: nach oben gekrümmt 42">
            <a:extLst>
              <a:ext uri="{FF2B5EF4-FFF2-40B4-BE49-F238E27FC236}">
                <a16:creationId xmlns:a16="http://schemas.microsoft.com/office/drawing/2014/main" id="{C192E4C5-65C1-409D-9571-AC831D9BE606}"/>
              </a:ext>
            </a:extLst>
          </p:cNvPr>
          <p:cNvSpPr/>
          <p:nvPr/>
        </p:nvSpPr>
        <p:spPr>
          <a:xfrm>
            <a:off x="7413047" y="2267945"/>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4" name="Pfeil: nach oben gekrümmt 43">
            <a:extLst>
              <a:ext uri="{FF2B5EF4-FFF2-40B4-BE49-F238E27FC236}">
                <a16:creationId xmlns:a16="http://schemas.microsoft.com/office/drawing/2014/main" id="{59759B08-5BB5-46DC-96A7-FDFDD7765951}"/>
              </a:ext>
            </a:extLst>
          </p:cNvPr>
          <p:cNvSpPr/>
          <p:nvPr/>
        </p:nvSpPr>
        <p:spPr>
          <a:xfrm>
            <a:off x="8876784" y="2262827"/>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5" name="Pfeil: nach oben gekrümmt 44">
            <a:extLst>
              <a:ext uri="{FF2B5EF4-FFF2-40B4-BE49-F238E27FC236}">
                <a16:creationId xmlns:a16="http://schemas.microsoft.com/office/drawing/2014/main" id="{5A233127-ADFC-4C90-8CE8-ACA972EA821E}"/>
              </a:ext>
            </a:extLst>
          </p:cNvPr>
          <p:cNvSpPr/>
          <p:nvPr/>
        </p:nvSpPr>
        <p:spPr>
          <a:xfrm>
            <a:off x="10340521" y="2260438"/>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6" name="Rechteck 45">
            <a:extLst>
              <a:ext uri="{FF2B5EF4-FFF2-40B4-BE49-F238E27FC236}">
                <a16:creationId xmlns:a16="http://schemas.microsoft.com/office/drawing/2014/main" id="{2B62FCCB-9C12-42A3-9826-9B59006C2865}"/>
              </a:ext>
            </a:extLst>
          </p:cNvPr>
          <p:cNvSpPr/>
          <p:nvPr/>
        </p:nvSpPr>
        <p:spPr>
          <a:xfrm>
            <a:off x="4167453" y="2706802"/>
            <a:ext cx="1380954" cy="830997"/>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Αδύναμη ηγεσία</a:t>
            </a:r>
          </a:p>
        </p:txBody>
      </p:sp>
      <p:sp>
        <p:nvSpPr>
          <p:cNvPr id="47" name="Rechteck 46">
            <a:extLst>
              <a:ext uri="{FF2B5EF4-FFF2-40B4-BE49-F238E27FC236}">
                <a16:creationId xmlns:a16="http://schemas.microsoft.com/office/drawing/2014/main" id="{10A86406-E2FE-401C-95F8-2B115609BC83}"/>
              </a:ext>
            </a:extLst>
          </p:cNvPr>
          <p:cNvSpPr/>
          <p:nvPr/>
        </p:nvSpPr>
        <p:spPr>
          <a:xfrm>
            <a:off x="5723256" y="2706803"/>
            <a:ext cx="1380953" cy="830996"/>
          </a:xfrm>
          <a:prstGeom prst="rect">
            <a:avLst/>
          </a:prstGeom>
          <a:solidFill>
            <a:srgbClr val="245473"/>
          </a:solidFill>
        </p:spPr>
        <p:txBody>
          <a:bodyPr wrap="square" anchor="ctr">
            <a:noAutofit/>
          </a:bodyPr>
          <a:lstStyle/>
          <a:p>
            <a:pPr algn="ctr">
              <a:lnSpc>
                <a:spcPts val="1720"/>
              </a:lnSpc>
            </a:pPr>
            <a:r>
              <a:rPr lang="en-GB" sz="1400" b="1" dirty="0" err="1">
                <a:solidFill>
                  <a:schemeClr val="bg1"/>
                </a:solidFill>
                <a:ea typeface="Lato Light" panose="020F0502020204030203" pitchFamily="34" charset="0"/>
                <a:cs typeface="Mukta ExtraLight" panose="020B0000000000000000" pitchFamily="34" charset="77"/>
              </a:rPr>
              <a:t>Προϊόντ</a:t>
            </a:r>
            <a:r>
              <a:rPr lang="en-GB" sz="1400" b="1" dirty="0">
                <a:solidFill>
                  <a:schemeClr val="bg1"/>
                </a:solidFill>
                <a:ea typeface="Lato Light" panose="020F0502020204030203" pitchFamily="34" charset="0"/>
                <a:cs typeface="Mukta ExtraLight" panose="020B0000000000000000" pitchFamily="34" charset="77"/>
              </a:rPr>
              <a:t>α που δεν ανταποκρίνονται στην αγορά</a:t>
            </a:r>
          </a:p>
        </p:txBody>
      </p:sp>
      <p:sp>
        <p:nvSpPr>
          <p:cNvPr id="48" name="Rechteck 47">
            <a:extLst>
              <a:ext uri="{FF2B5EF4-FFF2-40B4-BE49-F238E27FC236}">
                <a16:creationId xmlns:a16="http://schemas.microsoft.com/office/drawing/2014/main" id="{B00E7A09-224B-4FCC-BA4E-1B1ACDD9B741}"/>
              </a:ext>
            </a:extLst>
          </p:cNvPr>
          <p:cNvSpPr/>
          <p:nvPr/>
        </p:nvSpPr>
        <p:spPr>
          <a:xfrm>
            <a:off x="7255448" y="2711457"/>
            <a:ext cx="1380953" cy="826342"/>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Μείωση των κερδών</a:t>
            </a:r>
          </a:p>
        </p:txBody>
      </p:sp>
      <p:sp>
        <p:nvSpPr>
          <p:cNvPr id="49" name="Rechteck 48">
            <a:extLst>
              <a:ext uri="{FF2B5EF4-FFF2-40B4-BE49-F238E27FC236}">
                <a16:creationId xmlns:a16="http://schemas.microsoft.com/office/drawing/2014/main" id="{7480D117-1BAA-443B-A193-A006EB0A16B5}"/>
              </a:ext>
            </a:extLst>
          </p:cNvPr>
          <p:cNvSpPr/>
          <p:nvPr/>
        </p:nvSpPr>
        <p:spPr>
          <a:xfrm>
            <a:off x="8772302" y="2711457"/>
            <a:ext cx="1380954" cy="826342"/>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Κατανάλωση ρευστών διαθεσίμων</a:t>
            </a:r>
          </a:p>
        </p:txBody>
      </p:sp>
      <p:sp>
        <p:nvSpPr>
          <p:cNvPr id="50" name="Rechteck 49">
            <a:extLst>
              <a:ext uri="{FF2B5EF4-FFF2-40B4-BE49-F238E27FC236}">
                <a16:creationId xmlns:a16="http://schemas.microsoft.com/office/drawing/2014/main" id="{A43DE806-DADE-4FC2-B4E9-28E5CE137FB5}"/>
              </a:ext>
            </a:extLst>
          </p:cNvPr>
          <p:cNvSpPr/>
          <p:nvPr/>
        </p:nvSpPr>
        <p:spPr>
          <a:xfrm>
            <a:off x="10229780" y="2703945"/>
            <a:ext cx="1380953" cy="833853"/>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Επικείμενη) αφερεγγυότητα</a:t>
            </a:r>
          </a:p>
        </p:txBody>
      </p:sp>
      <p:sp>
        <p:nvSpPr>
          <p:cNvPr id="51" name="Rechteck 50">
            <a:extLst>
              <a:ext uri="{FF2B5EF4-FFF2-40B4-BE49-F238E27FC236}">
                <a16:creationId xmlns:a16="http://schemas.microsoft.com/office/drawing/2014/main" id="{9A734528-F533-424B-A98D-C332E30DE4AE}"/>
              </a:ext>
            </a:extLst>
          </p:cNvPr>
          <p:cNvSpPr/>
          <p:nvPr/>
        </p:nvSpPr>
        <p:spPr>
          <a:xfrm>
            <a:off x="6842218" y="4631182"/>
            <a:ext cx="1327199" cy="1346435"/>
          </a:xfrm>
          <a:prstGeom prst="rect">
            <a:avLst/>
          </a:prstGeom>
          <a:solidFill>
            <a:srgbClr val="B41F7A"/>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Απώλεια σημαντικού πελάτη/παραγγελίας</a:t>
            </a:r>
          </a:p>
        </p:txBody>
      </p:sp>
      <p:sp>
        <p:nvSpPr>
          <p:cNvPr id="52" name="Rechteck 51">
            <a:extLst>
              <a:ext uri="{FF2B5EF4-FFF2-40B4-BE49-F238E27FC236}">
                <a16:creationId xmlns:a16="http://schemas.microsoft.com/office/drawing/2014/main" id="{80DD04B9-6CF6-4BB1-A6CA-A9EE19406681}"/>
              </a:ext>
            </a:extLst>
          </p:cNvPr>
          <p:cNvSpPr/>
          <p:nvPr/>
        </p:nvSpPr>
        <p:spPr>
          <a:xfrm>
            <a:off x="8296411" y="4631183"/>
            <a:ext cx="1175126" cy="1346435"/>
          </a:xfrm>
          <a:prstGeom prst="rect">
            <a:avLst/>
          </a:prstGeom>
          <a:solidFill>
            <a:srgbClr val="F16924"/>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Αξιώσεις αποζημίωσης</a:t>
            </a:r>
          </a:p>
        </p:txBody>
      </p:sp>
      <p:sp>
        <p:nvSpPr>
          <p:cNvPr id="53" name="Rechteck 52">
            <a:extLst>
              <a:ext uri="{FF2B5EF4-FFF2-40B4-BE49-F238E27FC236}">
                <a16:creationId xmlns:a16="http://schemas.microsoft.com/office/drawing/2014/main" id="{53B89C60-AD69-48F9-87B3-E1A6CC199BEC}"/>
              </a:ext>
            </a:extLst>
          </p:cNvPr>
          <p:cNvSpPr/>
          <p:nvPr/>
        </p:nvSpPr>
        <p:spPr>
          <a:xfrm>
            <a:off x="9596935" y="4647501"/>
            <a:ext cx="1327198" cy="1346435"/>
          </a:xfrm>
          <a:prstGeom prst="rect">
            <a:avLst/>
          </a:prstGeom>
          <a:solidFill>
            <a:srgbClr val="EDA13E"/>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Μαζική απώλεια απαιτήσεων</a:t>
            </a:r>
          </a:p>
        </p:txBody>
      </p:sp>
      <p:sp>
        <p:nvSpPr>
          <p:cNvPr id="54" name="TextBox 58">
            <a:extLst>
              <a:ext uri="{FF2B5EF4-FFF2-40B4-BE49-F238E27FC236}">
                <a16:creationId xmlns:a16="http://schemas.microsoft.com/office/drawing/2014/main" id="{53D97A96-758D-41F1-A400-9C941960C78F}"/>
              </a:ext>
            </a:extLst>
          </p:cNvPr>
          <p:cNvSpPr txBox="1"/>
          <p:nvPr/>
        </p:nvSpPr>
        <p:spPr>
          <a:xfrm>
            <a:off x="4125837" y="5409161"/>
            <a:ext cx="2596166" cy="584775"/>
          </a:xfrm>
          <a:prstGeom prst="rect">
            <a:avLst/>
          </a:prstGeom>
          <a:noFill/>
        </p:spPr>
        <p:txBody>
          <a:bodyPr wrap="square" rtlCol="0" anchor="ctr">
            <a:spAutoFit/>
          </a:bodyPr>
          <a:lstStyle/>
          <a:p>
            <a:r>
              <a:rPr lang="en-GB" sz="1600" b="1" dirty="0">
                <a:solidFill>
                  <a:srgbClr val="245473"/>
                </a:solidFill>
                <a:latin typeface="Calibri" panose="020F0502020204030204" pitchFamily="34" charset="0"/>
                <a:cs typeface="Calibri" panose="020F0502020204030204" pitchFamily="34" charset="0"/>
              </a:rPr>
              <a:t>Άμεση εμφάνιση </a:t>
            </a:r>
            <a:br>
              <a:rPr lang="en-GB" sz="1600" b="1" dirty="0">
                <a:solidFill>
                  <a:srgbClr val="245473"/>
                </a:solidFill>
                <a:latin typeface="Calibri" panose="020F0502020204030204" pitchFamily="34" charset="0"/>
                <a:cs typeface="Calibri" panose="020F0502020204030204" pitchFamily="34" charset="0"/>
              </a:rPr>
            </a:br>
            <a:r>
              <a:rPr lang="en-GB" sz="1600" b="1" dirty="0">
                <a:solidFill>
                  <a:srgbClr val="245473"/>
                </a:solidFill>
                <a:latin typeface="Calibri" panose="020F0502020204030204" pitchFamily="34" charset="0"/>
                <a:cs typeface="Calibri" panose="020F0502020204030204" pitchFamily="34" charset="0"/>
              </a:rPr>
              <a:t>της κρίσης (εξωτερικοί παράγοντες)</a:t>
            </a:r>
          </a:p>
        </p:txBody>
      </p:sp>
      <p:pic>
        <p:nvPicPr>
          <p:cNvPr id="5" name="Slika 4">
            <a:extLst>
              <a:ext uri="{FF2B5EF4-FFF2-40B4-BE49-F238E27FC236}">
                <a16:creationId xmlns:a16="http://schemas.microsoft.com/office/drawing/2014/main" id="{7E8A0879-7DA7-BA99-7E92-33636A5E8147}"/>
              </a:ext>
            </a:extLst>
          </p:cNvPr>
          <p:cNvPicPr>
            <a:picLocks noChangeAspect="1"/>
          </p:cNvPicPr>
          <p:nvPr/>
        </p:nvPicPr>
        <p:blipFill>
          <a:blip r:embed="rId7"/>
          <a:stretch>
            <a:fillRect/>
          </a:stretch>
        </p:blipFill>
        <p:spPr>
          <a:xfrm>
            <a:off x="8664283" y="6253844"/>
            <a:ext cx="3166038" cy="586791"/>
          </a:xfrm>
          <a:prstGeom prst="rect">
            <a:avLst/>
          </a:prstGeom>
        </p:spPr>
      </p:pic>
      <p:sp>
        <p:nvSpPr>
          <p:cNvPr id="7" name="Rectangle 6">
            <a:extLst>
              <a:ext uri="{FF2B5EF4-FFF2-40B4-BE49-F238E27FC236}">
                <a16:creationId xmlns:a16="http://schemas.microsoft.com/office/drawing/2014/main" id="{5D9086E7-D2DD-331B-83AB-E8CF54544BF8}"/>
              </a:ext>
            </a:extLst>
          </p:cNvPr>
          <p:cNvSpPr/>
          <p:nvPr/>
        </p:nvSpPr>
        <p:spPr>
          <a:xfrm>
            <a:off x="0"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
            <a:extLst>
              <a:ext uri="{FF2B5EF4-FFF2-40B4-BE49-F238E27FC236}">
                <a16:creationId xmlns:a16="http://schemas.microsoft.com/office/drawing/2014/main" id="{5903F531-D079-136E-F19A-BAAE519F2ED3}"/>
              </a:ext>
            </a:extLst>
          </p:cNvPr>
          <p:cNvSpPr txBox="1">
            <a:spLocks/>
          </p:cNvSpPr>
          <p:nvPr/>
        </p:nvSpPr>
        <p:spPr>
          <a:xfrm>
            <a:off x="293541" y="2930717"/>
            <a:ext cx="3153974" cy="30624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2000" dirty="0">
                <a:solidFill>
                  <a:schemeClr val="bg1"/>
                </a:solidFill>
              </a:rPr>
              <a:t>Η είσοδος σε μια επιχειρηματική κρίση είναι ανεξάρτητη από τη φάση της κρίσης που έχει προσδιοριστεί "επί του παρόντος". </a:t>
            </a:r>
          </a:p>
          <a:p>
            <a:pPr marL="15875" indent="-15875"/>
            <a:r>
              <a:rPr lang="en-US" sz="2000" dirty="0">
                <a:solidFill>
                  <a:schemeClr val="bg1"/>
                </a:solidFill>
              </a:rPr>
              <a:t>Είναι επίσης δυνατή η άμεση είσοδος σε προχωρημένες φάσεις - που συνήθως προκαλούνται από εξωτερικές επιδράσεις.</a:t>
            </a:r>
          </a:p>
        </p:txBody>
      </p:sp>
      <p:sp>
        <p:nvSpPr>
          <p:cNvPr id="9" name="Textplatzhalter 32">
            <a:extLst>
              <a:ext uri="{FF2B5EF4-FFF2-40B4-BE49-F238E27FC236}">
                <a16:creationId xmlns:a16="http://schemas.microsoft.com/office/drawing/2014/main" id="{587E4446-CAD5-3893-CFEA-F6DC7DF1C639}"/>
              </a:ext>
            </a:extLst>
          </p:cNvPr>
          <p:cNvSpPr txBox="1">
            <a:spLocks/>
          </p:cNvSpPr>
          <p:nvPr/>
        </p:nvSpPr>
        <p:spPr>
          <a:xfrm>
            <a:off x="392411" y="163806"/>
            <a:ext cx="3025497" cy="207916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sz="3200" dirty="0">
                <a:solidFill>
                  <a:schemeClr val="bg1"/>
                </a:solidFill>
              </a:rPr>
              <a:t>Τυπικές σχέσεις αιτίου-αποτελέσματος έναντι άμεσης εισόδου</a:t>
            </a:r>
          </a:p>
        </p:txBody>
      </p:sp>
      <p:sp>
        <p:nvSpPr>
          <p:cNvPr id="10" name="Rectangle 9">
            <a:extLst>
              <a:ext uri="{FF2B5EF4-FFF2-40B4-BE49-F238E27FC236}">
                <a16:creationId xmlns:a16="http://schemas.microsoft.com/office/drawing/2014/main" id="{93E0478E-5B71-7DB4-521B-EE52C1A0E0FF}"/>
              </a:ext>
            </a:extLst>
          </p:cNvPr>
          <p:cNvSpPr/>
          <p:nvPr/>
        </p:nvSpPr>
        <p:spPr>
          <a:xfrm>
            <a:off x="360325" y="26119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6" name="Chevron 4">
            <a:extLst>
              <a:ext uri="{FF2B5EF4-FFF2-40B4-BE49-F238E27FC236}">
                <a16:creationId xmlns:a16="http://schemas.microsoft.com/office/drawing/2014/main" id="{42CB9FEC-DD81-05F0-DF0D-A7FD666B42E8}"/>
              </a:ext>
            </a:extLst>
          </p:cNvPr>
          <p:cNvSpPr/>
          <p:nvPr/>
        </p:nvSpPr>
        <p:spPr>
          <a:xfrm>
            <a:off x="6780979" y="3915068"/>
            <a:ext cx="1405522"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17" name="Chevron 1">
            <a:extLst>
              <a:ext uri="{FF2B5EF4-FFF2-40B4-BE49-F238E27FC236}">
                <a16:creationId xmlns:a16="http://schemas.microsoft.com/office/drawing/2014/main" id="{CA115EF5-49AC-D478-62CD-BE4BD50C7477}"/>
              </a:ext>
            </a:extLst>
          </p:cNvPr>
          <p:cNvSpPr/>
          <p:nvPr/>
        </p:nvSpPr>
        <p:spPr>
          <a:xfrm>
            <a:off x="3743806" y="3918321"/>
            <a:ext cx="1430861"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18" name="Chevron 2">
            <a:extLst>
              <a:ext uri="{FF2B5EF4-FFF2-40B4-BE49-F238E27FC236}">
                <a16:creationId xmlns:a16="http://schemas.microsoft.com/office/drawing/2014/main" id="{6447CE71-8ACC-4929-246E-6CF3E14FF1D6}"/>
              </a:ext>
            </a:extLst>
          </p:cNvPr>
          <p:cNvSpPr/>
          <p:nvPr/>
        </p:nvSpPr>
        <p:spPr>
          <a:xfrm>
            <a:off x="5221065" y="3915068"/>
            <a:ext cx="1532910"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19" name="Chevron 4">
            <a:extLst>
              <a:ext uri="{FF2B5EF4-FFF2-40B4-BE49-F238E27FC236}">
                <a16:creationId xmlns:a16="http://schemas.microsoft.com/office/drawing/2014/main" id="{ED262E17-F15C-7636-81B1-0FE21E66AC58}"/>
              </a:ext>
            </a:extLst>
          </p:cNvPr>
          <p:cNvSpPr/>
          <p:nvPr/>
        </p:nvSpPr>
        <p:spPr>
          <a:xfrm>
            <a:off x="8233166" y="3915068"/>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0" name="Chevron 5">
            <a:extLst>
              <a:ext uri="{FF2B5EF4-FFF2-40B4-BE49-F238E27FC236}">
                <a16:creationId xmlns:a16="http://schemas.microsoft.com/office/drawing/2014/main" id="{ED785515-683C-327F-058B-E24789C6F70F}"/>
              </a:ext>
            </a:extLst>
          </p:cNvPr>
          <p:cNvSpPr/>
          <p:nvPr/>
        </p:nvSpPr>
        <p:spPr>
          <a:xfrm>
            <a:off x="9724506" y="3915089"/>
            <a:ext cx="1171798"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1" name="TextBox 14">
            <a:extLst>
              <a:ext uri="{FF2B5EF4-FFF2-40B4-BE49-F238E27FC236}">
                <a16:creationId xmlns:a16="http://schemas.microsoft.com/office/drawing/2014/main" id="{514F9A16-846A-3F4E-8193-47CCA53C9FC1}"/>
              </a:ext>
            </a:extLst>
          </p:cNvPr>
          <p:cNvSpPr txBox="1"/>
          <p:nvPr/>
        </p:nvSpPr>
        <p:spPr>
          <a:xfrm>
            <a:off x="3837838" y="3948705"/>
            <a:ext cx="132601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των ενδιαφερομένων μερών</a:t>
            </a:r>
          </a:p>
        </p:txBody>
      </p:sp>
      <p:sp>
        <p:nvSpPr>
          <p:cNvPr id="22" name="TextBox 15">
            <a:extLst>
              <a:ext uri="{FF2B5EF4-FFF2-40B4-BE49-F238E27FC236}">
                <a16:creationId xmlns:a16="http://schemas.microsoft.com/office/drawing/2014/main" id="{F5A9006D-0A30-8970-F991-14F15A17FF6E}"/>
              </a:ext>
            </a:extLst>
          </p:cNvPr>
          <p:cNvSpPr txBox="1"/>
          <p:nvPr/>
        </p:nvSpPr>
        <p:spPr>
          <a:xfrm>
            <a:off x="5338995" y="4068474"/>
            <a:ext cx="1499829"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Στρατηγική Κρίση</a:t>
            </a:r>
          </a:p>
        </p:txBody>
      </p:sp>
      <p:sp>
        <p:nvSpPr>
          <p:cNvPr id="23" name="TextBox 16">
            <a:extLst>
              <a:ext uri="{FF2B5EF4-FFF2-40B4-BE49-F238E27FC236}">
                <a16:creationId xmlns:a16="http://schemas.microsoft.com/office/drawing/2014/main" id="{392EB27E-92C6-9129-540A-C9D9CB60F952}"/>
              </a:ext>
            </a:extLst>
          </p:cNvPr>
          <p:cNvSpPr txBox="1"/>
          <p:nvPr/>
        </p:nvSpPr>
        <p:spPr>
          <a:xfrm>
            <a:off x="6933625" y="3956420"/>
            <a:ext cx="123579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προϊόντος/πωλήσεων</a:t>
            </a:r>
          </a:p>
        </p:txBody>
      </p:sp>
      <p:sp>
        <p:nvSpPr>
          <p:cNvPr id="24" name="TextBox 17">
            <a:extLst>
              <a:ext uri="{FF2B5EF4-FFF2-40B4-BE49-F238E27FC236}">
                <a16:creationId xmlns:a16="http://schemas.microsoft.com/office/drawing/2014/main" id="{917EFAB1-D27C-37BB-9FC4-4DF75C74EAB0}"/>
              </a:ext>
            </a:extLst>
          </p:cNvPr>
          <p:cNvSpPr txBox="1"/>
          <p:nvPr/>
        </p:nvSpPr>
        <p:spPr>
          <a:xfrm>
            <a:off x="8515451" y="3941022"/>
            <a:ext cx="956086"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κερδών</a:t>
            </a:r>
          </a:p>
        </p:txBody>
      </p:sp>
      <p:sp>
        <p:nvSpPr>
          <p:cNvPr id="25" name="TextBox 18">
            <a:extLst>
              <a:ext uri="{FF2B5EF4-FFF2-40B4-BE49-F238E27FC236}">
                <a16:creationId xmlns:a16="http://schemas.microsoft.com/office/drawing/2014/main" id="{F2A1668B-9F08-7A93-164A-152349C203C1}"/>
              </a:ext>
            </a:extLst>
          </p:cNvPr>
          <p:cNvSpPr txBox="1"/>
          <p:nvPr/>
        </p:nvSpPr>
        <p:spPr>
          <a:xfrm>
            <a:off x="9876752" y="3950331"/>
            <a:ext cx="1072733"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ρευστότητας</a:t>
            </a:r>
          </a:p>
        </p:txBody>
      </p:sp>
      <p:sp>
        <p:nvSpPr>
          <p:cNvPr id="28" name="Chevron 5">
            <a:extLst>
              <a:ext uri="{FF2B5EF4-FFF2-40B4-BE49-F238E27FC236}">
                <a16:creationId xmlns:a16="http://schemas.microsoft.com/office/drawing/2014/main" id="{97D7E5E8-06B3-FCE3-7283-14681D3C3261}"/>
              </a:ext>
            </a:extLst>
          </p:cNvPr>
          <p:cNvSpPr/>
          <p:nvPr/>
        </p:nvSpPr>
        <p:spPr>
          <a:xfrm>
            <a:off x="10910422" y="3919089"/>
            <a:ext cx="1171798"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9" name="TextBox 18">
            <a:extLst>
              <a:ext uri="{FF2B5EF4-FFF2-40B4-BE49-F238E27FC236}">
                <a16:creationId xmlns:a16="http://schemas.microsoft.com/office/drawing/2014/main" id="{0F024139-74CA-F9A9-6F90-9E85466B12D0}"/>
              </a:ext>
            </a:extLst>
          </p:cNvPr>
          <p:cNvSpPr txBox="1"/>
          <p:nvPr/>
        </p:nvSpPr>
        <p:spPr>
          <a:xfrm>
            <a:off x="11040181" y="4054629"/>
            <a:ext cx="1051803"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Αφερεγγυότητα</a:t>
            </a:r>
          </a:p>
        </p:txBody>
      </p:sp>
    </p:spTree>
    <p:extLst>
      <p:ext uri="{BB962C8B-B14F-4D97-AF65-F5344CB8AC3E}">
        <p14:creationId xmlns:p14="http://schemas.microsoft.com/office/powerpoint/2010/main" val="2135269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356219" y="400655"/>
            <a:ext cx="2207099" cy="5458587"/>
          </a:xfrm>
          <a:solidFill>
            <a:schemeClr val="bg1"/>
          </a:solidFill>
          <a:ln>
            <a:solidFill>
              <a:schemeClr val="bg1"/>
            </a:solidFill>
          </a:ln>
        </p:spPr>
        <p:txBody>
          <a:bodyPr>
            <a:normAutofit fontScale="92500" lnSpcReduction="10000"/>
          </a:bodyPr>
          <a:lstStyle/>
          <a:p>
            <a:r>
              <a:rPr lang="en-IE" sz="2400" dirty="0">
                <a:effectLst/>
                <a:latin typeface="Calibri" panose="020F0502020204030204" pitchFamily="34" charset="0"/>
                <a:ea typeface="Calibri" panose="020F0502020204030204" pitchFamily="34" charset="0"/>
                <a:cs typeface="Calibri" panose="020F0502020204030204" pitchFamily="34" charset="0"/>
              </a:rPr>
              <a:t>Με βάση τα ευρήματα του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Διεθνούς Πλαισίου Μάθησης του Συστήματος Έγκαιρης Προειδοποίησης</a:t>
            </a:r>
            <a:r>
              <a:rPr lang="el-GR"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του έργου</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SECURE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 </a:t>
            </a:r>
            <a:r>
              <a:rPr lang="en-IE" sz="2400" dirty="0">
                <a:effectLst/>
                <a:latin typeface="Calibri" panose="020F0502020204030204" pitchFamily="34" charset="0"/>
                <a:ea typeface="Calibri" panose="020F0502020204030204" pitchFamily="34" charset="0"/>
                <a:cs typeface="Calibri" panose="020F0502020204030204" pitchFamily="34" charset="0"/>
              </a:rPr>
              <a:t>, το πακέτο και το </a:t>
            </a:r>
            <a:r>
              <a:rPr lang="en-IE" sz="2400" dirty="0" err="1">
                <a:effectLst/>
                <a:latin typeface="Calibri" panose="020F0502020204030204" pitchFamily="34" charset="0"/>
                <a:ea typeface="Calibri" panose="020F0502020204030204" pitchFamily="34" charset="0"/>
                <a:cs typeface="Calibri" panose="020F0502020204030204" pitchFamily="34" charset="0"/>
              </a:rPr>
              <a:t>μοντέλο</a:t>
            </a:r>
            <a:r>
              <a:rPr lang="en-IE" sz="2400" dirty="0">
                <a:effectLst/>
                <a:latin typeface="Calibri" panose="020F0502020204030204" pitchFamily="34" charset="0"/>
                <a:ea typeface="Calibri" panose="020F0502020204030204" pitchFamily="34" charset="0"/>
                <a:cs typeface="Calibri" panose="020F0502020204030204" pitchFamily="34" charset="0"/>
              </a:rPr>
              <a:t> </a:t>
            </a:r>
            <a:r>
              <a:rPr lang="en-IE" sz="2400" dirty="0" err="1">
                <a:effectLst/>
                <a:latin typeface="Calibri" panose="020F0502020204030204" pitchFamily="34" charset="0"/>
                <a:ea typeface="Calibri" panose="020F0502020204030204" pitchFamily="34" charset="0"/>
                <a:cs typeface="Calibri" panose="020F0502020204030204" pitchFamily="34" charset="0"/>
              </a:rPr>
              <a:t>μάθησης</a:t>
            </a:r>
            <a:r>
              <a:rPr lang="el-GR" sz="2400" dirty="0">
                <a:effectLst/>
                <a:latin typeface="Calibri" panose="020F0502020204030204" pitchFamily="34" charset="0"/>
                <a:ea typeface="Calibri" panose="020F0502020204030204" pitchFamily="34" charset="0"/>
                <a:cs typeface="Calibri" panose="020F0502020204030204" pitchFamily="34" charset="0"/>
              </a:rPr>
              <a:t> ΕΕΚ</a:t>
            </a:r>
            <a:r>
              <a:rPr lang="en-IE" sz="2400" dirty="0">
                <a:effectLst/>
                <a:latin typeface="Calibri" panose="020F0502020204030204" pitchFamily="34" charset="0"/>
                <a:ea typeface="Calibri" panose="020F0502020204030204" pitchFamily="34" charset="0"/>
                <a:cs typeface="Calibri" panose="020F0502020204030204" pitchFamily="34" charset="0"/>
              </a:rPr>
              <a:t> </a:t>
            </a:r>
            <a:r>
              <a:rPr lang="en-IE" sz="2400" dirty="0" err="1">
                <a:effectLst/>
                <a:latin typeface="Calibri" panose="020F0502020204030204" pitchFamily="34" charset="0"/>
                <a:ea typeface="Calibri" panose="020F0502020204030204" pitchFamily="34" charset="0"/>
                <a:cs typeface="Calibri" panose="020F0502020204030204" pitchFamily="34" charset="0"/>
              </a:rPr>
              <a:t>του</a:t>
            </a:r>
            <a:r>
              <a:rPr lang="en-IE" sz="2400" dirty="0">
                <a:effectLst/>
                <a:latin typeface="Calibri" panose="020F0502020204030204" pitchFamily="34" charset="0"/>
                <a:ea typeface="Calibri" panose="020F0502020204030204" pitchFamily="34" charset="0"/>
                <a:cs typeface="Calibri" panose="020F0502020204030204" pitchFamily="34" charset="0"/>
              </a:rPr>
              <a:t> </a:t>
            </a:r>
            <a:r>
              <a:rPr lang="el-GR" sz="2400" dirty="0">
                <a:effectLst/>
                <a:latin typeface="Calibri" panose="020F0502020204030204" pitchFamily="34" charset="0"/>
                <a:ea typeface="Calibri" panose="020F0502020204030204" pitchFamily="34" charset="0"/>
                <a:cs typeface="Calibri" panose="020F0502020204030204" pitchFamily="34" charset="0"/>
              </a:rPr>
              <a:t>έργου </a:t>
            </a:r>
            <a:r>
              <a:rPr lang="en-IE" sz="2400" dirty="0">
                <a:effectLst/>
                <a:latin typeface="Calibri" panose="020F0502020204030204" pitchFamily="34" charset="0"/>
                <a:ea typeface="Calibri" panose="020F0502020204030204" pitchFamily="34" charset="0"/>
                <a:cs typeface="Calibri" panose="020F0502020204030204" pitchFamily="34" charset="0"/>
              </a:rPr>
              <a:t>SECURE </a:t>
            </a:r>
            <a:r>
              <a:rPr lang="en-IE" sz="2400" dirty="0" err="1">
                <a:effectLst/>
                <a:latin typeface="Calibri" panose="020F0502020204030204" pitchFamily="34" charset="0"/>
                <a:ea typeface="Calibri" panose="020F0502020204030204" pitchFamily="34" charset="0"/>
                <a:cs typeface="Calibri" panose="020F0502020204030204" pitchFamily="34" charset="0"/>
              </a:rPr>
              <a:t>έχει</a:t>
            </a:r>
            <a:r>
              <a:rPr lang="en-IE" sz="2400" dirty="0">
                <a:effectLst/>
                <a:latin typeface="Calibri" panose="020F0502020204030204" pitchFamily="34" charset="0"/>
                <a:ea typeface="Calibri" panose="020F0502020204030204" pitchFamily="34" charset="0"/>
                <a:cs typeface="Calibri" panose="020F0502020204030204" pitchFamily="34" charset="0"/>
              </a:rPr>
              <a:t> σχεδιαστεί σε έξι ε</a:t>
            </a:r>
            <a:r>
              <a:rPr lang="el-GR" sz="2400" dirty="0" err="1">
                <a:effectLst/>
                <a:latin typeface="Calibri" panose="020F0502020204030204" pitchFamily="34" charset="0"/>
                <a:ea typeface="Calibri" panose="020F0502020204030204" pitchFamily="34" charset="0"/>
                <a:cs typeface="Calibri" panose="020F0502020204030204" pitchFamily="34" charset="0"/>
              </a:rPr>
              <a:t>νδιαφέρουσες</a:t>
            </a:r>
            <a:r>
              <a:rPr lang="en-IE" sz="2400" dirty="0">
                <a:effectLst/>
                <a:latin typeface="Calibri" panose="020F0502020204030204" pitchFamily="34" charset="0"/>
                <a:ea typeface="Calibri" panose="020F0502020204030204" pitchFamily="34" charset="0"/>
                <a:cs typeface="Calibri" panose="020F0502020204030204" pitchFamily="34" charset="0"/>
              </a:rPr>
              <a:t> ενότητες κατάρτισης:-</a:t>
            </a:r>
            <a:endParaRPr lang="en-IE"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14502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00760"/>
            <a:ext cx="8944014"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gn="l">
              <a:lnSpc>
                <a:spcPts val="1520"/>
              </a:lnSpc>
              <a:buClr>
                <a:srgbClr val="94C33D"/>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Τι είναι μια επιχειρηματική κρίση και ποιοι είναι οι μηχανισμοί έγκαιρης ανίχνευσης;</a:t>
            </a:r>
          </a:p>
          <a:p>
            <a:pPr marL="285750" indent="-285750" algn="l">
              <a:lnSpc>
                <a:spcPts val="1520"/>
              </a:lnSpc>
              <a:buClr>
                <a:srgbClr val="94C33D"/>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Γνωρίζοντας πότε - μια επισκόπηση των 3 φάσεων της κρίσης των ΜΜΕ/επιχειρήσεων - κύρια στάδια, το στάδιο πριν από την κρίση, το ίδιο το στάδιο της διαχείρισης και της αντιμετώπισης και το στάδιο μετά την κρίση.</a:t>
            </a:r>
          </a:p>
        </p:txBody>
      </p:sp>
      <p:sp>
        <p:nvSpPr>
          <p:cNvPr id="20" name="Rectangle 19">
            <a:extLst>
              <a:ext uri="{FF2B5EF4-FFF2-40B4-BE49-F238E27FC236}">
                <a16:creationId xmlns:a16="http://schemas.microsoft.com/office/drawing/2014/main" id="{F7F0EB08-604D-129F-741D-2948D51A8919}"/>
              </a:ext>
            </a:extLst>
          </p:cNvPr>
          <p:cNvSpPr/>
          <p:nvPr/>
        </p:nvSpPr>
        <p:spPr>
          <a:xfrm>
            <a:off x="5855677" y="189922"/>
            <a:ext cx="5975302" cy="353943"/>
          </a:xfrm>
          <a:prstGeom prst="rect">
            <a:avLst/>
          </a:prstGeom>
        </p:spPr>
        <p:txBody>
          <a:bodyPr wrap="square">
            <a:spAutoFit/>
          </a:bodyPr>
          <a:lstStyle/>
          <a:p>
            <a:pPr algn="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ΤΑ ΒΑΣΙΚ</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Α</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 </a:t>
            </a:r>
            <a:endParaRPr lang="en-US" sz="1700" b="1" dirty="0">
              <a:solidFill>
                <a:schemeClr val="bg1"/>
              </a:solidFill>
              <a:highlight>
                <a:srgbClr val="B41F7A"/>
              </a:highlight>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382668"/>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9" y="1773812"/>
            <a:ext cx="8938417"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94C33D"/>
              </a:buClr>
            </a:pPr>
            <a:r>
              <a:rPr lang="en-GB" sz="1600" dirty="0">
                <a:solidFill>
                  <a:srgbClr val="4B4B4B"/>
                </a:solidFill>
                <a:latin typeface="Calibri" panose="020F0502020204030204" pitchFamily="34" charset="0"/>
                <a:cs typeface="Calibri" panose="020F0502020204030204" pitchFamily="34" charset="0"/>
              </a:rPr>
              <a:t>Δεν το είχατε προβλέψει, συνήθως δεν είναι κάτι για το οποίο είστε προετοιμασμένοι, αλλά μόλις συμβεί, εύχεστε να ήσασταν, π.χ. φυσική κρίση, αποδυνάμωση της οικονομίας και συμφορές, περιβάλλον της αγοράς π.χ. αλυσίδες εφοδιασμού , θέματα που σχετίζονται με την τεχνολογία .</a:t>
            </a:r>
          </a:p>
        </p:txBody>
      </p:sp>
      <p:sp>
        <p:nvSpPr>
          <p:cNvPr id="24" name="Rectangle 23">
            <a:extLst>
              <a:ext uri="{FF2B5EF4-FFF2-40B4-BE49-F238E27FC236}">
                <a16:creationId xmlns:a16="http://schemas.microsoft.com/office/drawing/2014/main" id="{D263234C-8544-8496-E925-CA8F026DDDAF}"/>
              </a:ext>
            </a:extLst>
          </p:cNvPr>
          <p:cNvSpPr/>
          <p:nvPr/>
        </p:nvSpPr>
        <p:spPr>
          <a:xfrm>
            <a:off x="3752850" y="1405824"/>
            <a:ext cx="8082931"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ΜΙΑ ΚΡ</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Ι</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ΣΗ ΠΟΥ ΠΡΟ</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ΕΡΧΟΜΕΝΗ </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ΑΠ</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Ο</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ΕΞΩΤΕΡΙΚΟ</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Υ</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Σ ΑΝΑΠ</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Ο</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ΦΕΥΚΤΟΥΣ </a:t>
            </a:r>
            <a:r>
              <a:rPr lang="en-IE" sz="1700" b="1" dirty="0">
                <a:solidFill>
                  <a:srgbClr val="B41F7A"/>
                </a:solidFill>
                <a:latin typeface="Calibri" panose="020F0502020204030204" pitchFamily="34" charset="0"/>
                <a:cs typeface="Calibri" panose="020F0502020204030204" pitchFamily="34" charset="0"/>
              </a:rPr>
              <a:t>ΠΑΡ</a:t>
            </a:r>
            <a:r>
              <a:rPr lang="el-GR" sz="1700" b="1" dirty="0">
                <a:solidFill>
                  <a:srgbClr val="B41F7A"/>
                </a:solidFill>
                <a:latin typeface="Calibri" panose="020F0502020204030204" pitchFamily="34" charset="0"/>
                <a:cs typeface="Calibri" panose="020F0502020204030204" pitchFamily="34" charset="0"/>
              </a:rPr>
              <a:t>Α</a:t>
            </a:r>
            <a:r>
              <a:rPr lang="en-IE" sz="1700" b="1" dirty="0">
                <a:solidFill>
                  <a:srgbClr val="B41F7A"/>
                </a:solidFill>
                <a:latin typeface="Calibri" panose="020F0502020204030204" pitchFamily="34" charset="0"/>
                <a:cs typeface="Calibri" panose="020F0502020204030204" pitchFamily="34" charset="0"/>
              </a:rPr>
              <a:t>ΓΟΝΤΕΣ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a:cxnSpLocks/>
          </p:cNvCxnSpPr>
          <p:nvPr/>
        </p:nvCxnSpPr>
        <p:spPr>
          <a:xfrm>
            <a:off x="2962494" y="17453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2" y="257232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9" y="2963465"/>
            <a:ext cx="8947952"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Διαχειριστικές δεξιότητες και κουλτούρα, </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Κρίση στις πωλήσεις προϊόντων, πελατειακή βάση, εξάρτηση, σχέσεις.</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Συστήματα δεδομένων και εργαλεία εσωτερικής και εξωτερικής ανάλυσης εντός της επιχείρησης</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Κέρδη και κρίση ρευστότητας</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Επιχειρησιακή κρίση</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Τεχνολογικές ελλείψεις - έλλειψη δεξιοτήτων και πόρων </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Οργανωτική κρίση/κρίση προσωπικού</a:t>
            </a:r>
          </a:p>
        </p:txBody>
      </p:sp>
      <p:sp>
        <p:nvSpPr>
          <p:cNvPr id="29" name="Rectangle 28">
            <a:extLst>
              <a:ext uri="{FF2B5EF4-FFF2-40B4-BE49-F238E27FC236}">
                <a16:creationId xmlns:a16="http://schemas.microsoft.com/office/drawing/2014/main" id="{BDD3F0A1-DF76-3CC5-EA43-D7F0F2F8F0B1}"/>
              </a:ext>
            </a:extLst>
          </p:cNvPr>
          <p:cNvSpPr/>
          <p:nvPr/>
        </p:nvSpPr>
        <p:spPr>
          <a:xfrm>
            <a:off x="5860479" y="2595477"/>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ΜΙΑ ΚΡ</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Ι</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ΣΗ </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ΠΡΟΕΡΧΟΜΕΝΗ </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ΑΠ</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Ο</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ΕΣΩΤΕΡΙΚΟ</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Υ</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Σ ΠΑΡ</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Α</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ΓΟΝΤΕΣ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9" y="293443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2" y="419730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10035" y="4219575"/>
            <a:ext cx="8320943"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ΗΓΕΤΙΚ</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Η</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ΚΟΥΛΤΟ</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Υ</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ΡΑ, ΔΙΑΧΕ</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Ι</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ΡΙΣΗ ΤΩΝ ΕΝΔΙΑΦΕΡΟΜ</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Ε</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ΝΩΝ ΜΕΡ</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Ω</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Ν ΚΑΙ ΕΠΙΚΟΙΝΩΝ</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Ι</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Α</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2" y="470108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4953000" y="4723452"/>
            <a:ext cx="7003865" cy="486543"/>
          </a:xfrm>
          <a:prstGeom prst="rect">
            <a:avLst/>
          </a:prstGeom>
        </p:spPr>
        <p:txBody>
          <a:bodyPr wrap="square">
            <a:spAutoFit/>
          </a:bodyPr>
          <a:lstStyle/>
          <a:p>
            <a:pPr algn="r">
              <a:lnSpc>
                <a:spcPts val="1540"/>
              </a:lnSpc>
            </a:pP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ΚΑΤΑΝ</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Ο</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ΗΣΗ ΤΩΝ ΧΡΗΜΑΤΟΟΙΚΟΝΟΜΙ</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ΚΩ</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Ν ΔΕΙΚΤ</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Ω</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Ν ΚΑΙ ΤΩΝ ΔΕΙΚΤ</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Ω</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Ν ΡΕΥΣΤ</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Ο</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ΤΗΤΑΣ &amp; ΤΗΣ ΑΦΕΡΕΓΓΥ</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Ο</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ΤΗΤΑΣ ΩΣ ΠΡΟΣ</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ΣΕ</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ΓΓΙΣΗ</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Σ</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ΑΝΑΔΙ</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Α</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ΡΘΡΩΣΗΣ</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7" y="5336331"/>
            <a:ext cx="9009846" cy="1366924"/>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6" y="5745569"/>
            <a:ext cx="8889760" cy="529301"/>
          </a:xfrm>
          <a:prstGeom prst="rect">
            <a:avLst/>
          </a:prstGeom>
        </p:spPr>
        <p:txBody>
          <a:bodyPr vert="horz" lIns="91440" tIns="45720" rIns="91440" bIns="45720" numCol="1"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F29E38"/>
              </a:buClr>
            </a:pPr>
            <a:r>
              <a:rPr lang="en-GB" sz="1600">
                <a:solidFill>
                  <a:srgbClr val="4B4B4B"/>
                </a:solidFill>
                <a:latin typeface="Calibri" panose="020F0502020204030204" pitchFamily="34" charset="0"/>
                <a:cs typeface="Calibri" panose="020F0502020204030204" pitchFamily="34" charset="0"/>
              </a:rPr>
              <a:t>Ως ΜΜΕ με περιορισμένους πόρους, πώς μπορείτε να εφαρμόσετε συστήματα έγκαιρης προειδοποίησης που θα σας επιτρέπουν να εντοπίζετε κρίσεις σε πρώιμο στάδιο πριν αυτές πάρουν διαστάσεις που απειλούν την ύπαρξη της εταιρείας.</a:t>
            </a:r>
            <a:endParaRPr lang="en-GB" sz="1600" dirty="0">
              <a:solidFill>
                <a:srgbClr val="4B4B4B"/>
              </a:solidFill>
              <a:latin typeface="Calibri" panose="020F0502020204030204" pitchFamily="34" charset="0"/>
              <a:cs typeface="Calibri" panose="020F0502020204030204" pitchFamily="34" charset="0"/>
            </a:endParaRPr>
          </a:p>
        </p:txBody>
      </p:sp>
      <p:sp>
        <p:nvSpPr>
          <p:cNvPr id="53" name="Rectangle 52">
            <a:extLst>
              <a:ext uri="{FF2B5EF4-FFF2-40B4-BE49-F238E27FC236}">
                <a16:creationId xmlns:a16="http://schemas.microsoft.com/office/drawing/2014/main" id="{A6E1A3DB-C358-5E1A-FC80-75C73A25FF48}"/>
              </a:ext>
            </a:extLst>
          </p:cNvPr>
          <p:cNvSpPr/>
          <p:nvPr/>
        </p:nvSpPr>
        <p:spPr>
          <a:xfrm>
            <a:off x="3527984" y="5387397"/>
            <a:ext cx="830299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ΣΥΣΤ</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Η</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ΜΑΤΑ </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Ε</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ΓΚΑΙΡΗΣ ΠΡΟΕΙΔΟΠΟ</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Ι</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ΗΣΗΣ </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9" y="570930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l-GR" sz="1600" dirty="0">
                <a:solidFill>
                  <a:schemeClr val="bg1"/>
                </a:solidFill>
                <a:latin typeface="Calibri" panose="020F0502020204030204" pitchFamily="34" charset="0"/>
                <a:cs typeface="Calibri" panose="020F0502020204030204" pitchFamily="34" charset="0"/>
              </a:rPr>
              <a:t>ΕΝΟΤΗΤΑ</a:t>
            </a:r>
            <a:r>
              <a:rPr lang="en-IE" sz="1600" dirty="0">
                <a:solidFill>
                  <a:schemeClr val="bg1"/>
                </a:solidFill>
                <a:latin typeface="Calibri" panose="020F0502020204030204" pitchFamily="34" charset="0"/>
                <a:cs typeface="Calibri" panose="020F0502020204030204" pitchFamily="34" charset="0"/>
              </a:rPr>
              <a:t> 01</a:t>
            </a:r>
            <a:endParaRPr lang="en-US" sz="1600" dirty="0">
              <a:solidFill>
                <a:schemeClr val="bg1"/>
              </a:solidFill>
              <a:latin typeface="Calibri" panose="020F050202020403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3" y="137737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l-GR" sz="1600" dirty="0">
                <a:solidFill>
                  <a:schemeClr val="bg1"/>
                </a:solidFill>
                <a:latin typeface="Calibri" panose="020F0502020204030204" pitchFamily="34" charset="0"/>
                <a:cs typeface="Calibri" panose="020F0502020204030204" pitchFamily="34" charset="0"/>
              </a:rPr>
              <a:t>ΕΝΟΤΗΤΑ</a:t>
            </a:r>
            <a:r>
              <a:rPr lang="en-IE" sz="1600" dirty="0">
                <a:solidFill>
                  <a:schemeClr val="bg1"/>
                </a:solidFill>
                <a:latin typeface="Calibri" panose="020F0502020204030204" pitchFamily="34" charset="0"/>
                <a:cs typeface="Calibri" panose="020F0502020204030204" pitchFamily="34" charset="0"/>
              </a:rPr>
              <a:t> 02</a:t>
            </a:r>
            <a:endParaRPr lang="en-US" sz="1600" dirty="0">
              <a:solidFill>
                <a:schemeClr val="bg1"/>
              </a:solidFill>
              <a:latin typeface="Calibri" panose="020F050202020403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3" y="255574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l-GR" sz="1600" dirty="0">
                <a:solidFill>
                  <a:schemeClr val="bg1"/>
                </a:solidFill>
                <a:latin typeface="Calibri" panose="020F0502020204030204" pitchFamily="34" charset="0"/>
                <a:cs typeface="Calibri" panose="020F0502020204030204" pitchFamily="34" charset="0"/>
              </a:rPr>
              <a:t>ΕΝΟΤΗΤΑ</a:t>
            </a:r>
            <a:r>
              <a:rPr lang="en-IE" sz="1600" dirty="0">
                <a:solidFill>
                  <a:schemeClr val="bg1"/>
                </a:solidFill>
                <a:latin typeface="Calibri" panose="020F0502020204030204" pitchFamily="34" charset="0"/>
                <a:cs typeface="Calibri" panose="020F0502020204030204" pitchFamily="34" charset="0"/>
              </a:rPr>
              <a:t> 03</a:t>
            </a:r>
            <a:endParaRPr lang="en-US" sz="1600" dirty="0">
              <a:solidFill>
                <a:schemeClr val="bg1"/>
              </a:solidFill>
              <a:latin typeface="Calibri" panose="020F050202020403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3" y="4208602"/>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l-GR" sz="1600" dirty="0">
                <a:solidFill>
                  <a:schemeClr val="bg1"/>
                </a:solidFill>
                <a:latin typeface="Calibri" panose="020F0502020204030204" pitchFamily="34" charset="0"/>
                <a:cs typeface="Calibri" panose="020F0502020204030204" pitchFamily="34" charset="0"/>
              </a:rPr>
              <a:t>ΕΝΟΤΗΤΑ </a:t>
            </a:r>
            <a:r>
              <a:rPr lang="en-IE" sz="1600" dirty="0">
                <a:solidFill>
                  <a:schemeClr val="bg1"/>
                </a:solidFill>
                <a:latin typeface="Calibri" panose="020F0502020204030204" pitchFamily="34" charset="0"/>
                <a:cs typeface="Calibri" panose="020F0502020204030204" pitchFamily="34" charset="0"/>
              </a:rPr>
              <a:t>04</a:t>
            </a:r>
            <a:endParaRPr lang="en-US" sz="1600" dirty="0">
              <a:solidFill>
                <a:schemeClr val="bg1"/>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3" y="471549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l-GR" sz="1600" dirty="0">
                <a:solidFill>
                  <a:schemeClr val="bg1"/>
                </a:solidFill>
                <a:latin typeface="Calibri" panose="020F0502020204030204" pitchFamily="34" charset="0"/>
                <a:cs typeface="Calibri" panose="020F0502020204030204" pitchFamily="34" charset="0"/>
              </a:rPr>
              <a:t>ΕΝΟΤΗΤΑ</a:t>
            </a:r>
            <a:r>
              <a:rPr lang="en-IE" sz="1600" dirty="0">
                <a:solidFill>
                  <a:schemeClr val="bg1"/>
                </a:solidFill>
                <a:latin typeface="Calibri" panose="020F0502020204030204" pitchFamily="34" charset="0"/>
                <a:cs typeface="Calibri" panose="020F0502020204030204" pitchFamily="34" charset="0"/>
              </a:rPr>
              <a:t> 05</a:t>
            </a:r>
            <a:endParaRPr lang="en-US" sz="1600" dirty="0">
              <a:solidFill>
                <a:schemeClr val="bg1"/>
              </a:solidFill>
              <a:latin typeface="Calibri" panose="020F050202020403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2" y="53336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l-GR" sz="1600" dirty="0">
                <a:solidFill>
                  <a:schemeClr val="bg1"/>
                </a:solidFill>
                <a:latin typeface="Calibri" panose="020F0502020204030204" pitchFamily="34" charset="0"/>
                <a:cs typeface="Calibri" panose="020F0502020204030204" pitchFamily="34" charset="0"/>
              </a:rPr>
              <a:t>ΕΝΟΤΗΤΑ</a:t>
            </a:r>
            <a:r>
              <a:rPr lang="en-IE" sz="1600" dirty="0">
                <a:solidFill>
                  <a:schemeClr val="bg1"/>
                </a:solidFill>
                <a:latin typeface="Calibri" panose="020F0502020204030204" pitchFamily="34" charset="0"/>
                <a:cs typeface="Calibri" panose="020F0502020204030204" pitchFamily="34" charset="0"/>
              </a:rPr>
              <a:t> 06</a:t>
            </a:r>
            <a:endParaRPr lang="en-US" sz="16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08334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7" name="Rechteck 45">
            <a:extLst>
              <a:ext uri="{FF2B5EF4-FFF2-40B4-BE49-F238E27FC236}">
                <a16:creationId xmlns:a16="http://schemas.microsoft.com/office/drawing/2014/main" id="{EF7ACDE0-7598-BC2F-09F6-67D3E5253ACB}"/>
              </a:ext>
            </a:extLst>
          </p:cNvPr>
          <p:cNvSpPr/>
          <p:nvPr/>
        </p:nvSpPr>
        <p:spPr>
          <a:xfrm>
            <a:off x="3305314" y="5123252"/>
            <a:ext cx="1383698" cy="424800"/>
          </a:xfrm>
          <a:prstGeom prst="rect">
            <a:avLst/>
          </a:prstGeom>
          <a:solidFill>
            <a:srgbClr val="245473"/>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Διαδοχή;</a:t>
            </a:r>
          </a:p>
        </p:txBody>
      </p:sp>
      <p:sp>
        <p:nvSpPr>
          <p:cNvPr id="8" name="Rechteck 54">
            <a:extLst>
              <a:ext uri="{FF2B5EF4-FFF2-40B4-BE49-F238E27FC236}">
                <a16:creationId xmlns:a16="http://schemas.microsoft.com/office/drawing/2014/main" id="{3796C39B-D19A-D9A3-2BD3-CE9EA63B2960}"/>
              </a:ext>
            </a:extLst>
          </p:cNvPr>
          <p:cNvSpPr/>
          <p:nvPr/>
        </p:nvSpPr>
        <p:spPr>
          <a:xfrm>
            <a:off x="4775394" y="5145159"/>
            <a:ext cx="1440000" cy="424800"/>
          </a:xfrm>
          <a:prstGeom prst="rect">
            <a:avLst/>
          </a:prstGeom>
          <a:solidFill>
            <a:srgbClr val="7F1C58"/>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Διαδοχή;</a:t>
            </a:r>
          </a:p>
        </p:txBody>
      </p:sp>
      <p:sp>
        <p:nvSpPr>
          <p:cNvPr id="9" name="Rechteck 55">
            <a:extLst>
              <a:ext uri="{FF2B5EF4-FFF2-40B4-BE49-F238E27FC236}">
                <a16:creationId xmlns:a16="http://schemas.microsoft.com/office/drawing/2014/main" id="{9D3D1BFD-7D07-0841-7972-16B401E6D3E1}"/>
              </a:ext>
            </a:extLst>
          </p:cNvPr>
          <p:cNvSpPr/>
          <p:nvPr/>
        </p:nvSpPr>
        <p:spPr>
          <a:xfrm>
            <a:off x="6298842" y="5133069"/>
            <a:ext cx="1405522" cy="424800"/>
          </a:xfrm>
          <a:prstGeom prst="rect">
            <a:avLst/>
          </a:prstGeom>
          <a:solidFill>
            <a:srgbClr val="B41F7A"/>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Διαδοχή;</a:t>
            </a:r>
          </a:p>
        </p:txBody>
      </p:sp>
      <p:sp>
        <p:nvSpPr>
          <p:cNvPr id="10" name="Rechteck 56">
            <a:extLst>
              <a:ext uri="{FF2B5EF4-FFF2-40B4-BE49-F238E27FC236}">
                <a16:creationId xmlns:a16="http://schemas.microsoft.com/office/drawing/2014/main" id="{06C89E84-2259-4DC6-6E8D-854A5B57FD6B}"/>
              </a:ext>
            </a:extLst>
          </p:cNvPr>
          <p:cNvSpPr/>
          <p:nvPr/>
        </p:nvSpPr>
        <p:spPr>
          <a:xfrm>
            <a:off x="7838569" y="5135868"/>
            <a:ext cx="1252565"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Διαδοχή;</a:t>
            </a:r>
          </a:p>
        </p:txBody>
      </p:sp>
      <p:sp>
        <p:nvSpPr>
          <p:cNvPr id="11" name="Rechteck 57">
            <a:extLst>
              <a:ext uri="{FF2B5EF4-FFF2-40B4-BE49-F238E27FC236}">
                <a16:creationId xmlns:a16="http://schemas.microsoft.com/office/drawing/2014/main" id="{1A01F009-6159-301C-70B1-3D0AB79748D8}"/>
              </a:ext>
            </a:extLst>
          </p:cNvPr>
          <p:cNvSpPr/>
          <p:nvPr/>
        </p:nvSpPr>
        <p:spPr>
          <a:xfrm>
            <a:off x="9215919" y="5129945"/>
            <a:ext cx="1252554" cy="423024"/>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Διαδοχή;</a:t>
            </a:r>
          </a:p>
        </p:txBody>
      </p:sp>
      <p:sp>
        <p:nvSpPr>
          <p:cNvPr id="14" name="Rechteck 59">
            <a:extLst>
              <a:ext uri="{FF2B5EF4-FFF2-40B4-BE49-F238E27FC236}">
                <a16:creationId xmlns:a16="http://schemas.microsoft.com/office/drawing/2014/main" id="{0004E086-AEB7-7C5C-9AD5-C52883037D5C}"/>
              </a:ext>
            </a:extLst>
          </p:cNvPr>
          <p:cNvSpPr/>
          <p:nvPr/>
        </p:nvSpPr>
        <p:spPr>
          <a:xfrm>
            <a:off x="4793092" y="4640346"/>
            <a:ext cx="1440000" cy="424800"/>
          </a:xfrm>
          <a:prstGeom prst="rect">
            <a:avLst/>
          </a:prstGeom>
          <a:solidFill>
            <a:srgbClr val="7F1C58"/>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Δήλωση αποστολής;</a:t>
            </a:r>
          </a:p>
        </p:txBody>
      </p:sp>
      <p:sp>
        <p:nvSpPr>
          <p:cNvPr id="15" name="Rechteck 60">
            <a:extLst>
              <a:ext uri="{FF2B5EF4-FFF2-40B4-BE49-F238E27FC236}">
                <a16:creationId xmlns:a16="http://schemas.microsoft.com/office/drawing/2014/main" id="{8AB7194D-5E4D-7F2E-705C-14E0C4ABACB7}"/>
              </a:ext>
            </a:extLst>
          </p:cNvPr>
          <p:cNvSpPr/>
          <p:nvPr/>
        </p:nvSpPr>
        <p:spPr>
          <a:xfrm>
            <a:off x="6290925" y="4650163"/>
            <a:ext cx="1405522" cy="424800"/>
          </a:xfrm>
          <a:prstGeom prst="rect">
            <a:avLst/>
          </a:prstGeom>
          <a:solidFill>
            <a:srgbClr val="B41F7A"/>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Δήλωση αποστολής;</a:t>
            </a:r>
          </a:p>
        </p:txBody>
      </p:sp>
      <p:sp>
        <p:nvSpPr>
          <p:cNvPr id="16" name="Rechteck 61">
            <a:extLst>
              <a:ext uri="{FF2B5EF4-FFF2-40B4-BE49-F238E27FC236}">
                <a16:creationId xmlns:a16="http://schemas.microsoft.com/office/drawing/2014/main" id="{C63E62C3-37D9-8899-AE06-8888E79DA730}"/>
              </a:ext>
            </a:extLst>
          </p:cNvPr>
          <p:cNvSpPr/>
          <p:nvPr/>
        </p:nvSpPr>
        <p:spPr>
          <a:xfrm>
            <a:off x="7851486" y="4649230"/>
            <a:ext cx="1252565"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Δήλωση αποστολής;</a:t>
            </a:r>
          </a:p>
        </p:txBody>
      </p:sp>
      <p:sp>
        <p:nvSpPr>
          <p:cNvPr id="17" name="Rechteck 62">
            <a:extLst>
              <a:ext uri="{FF2B5EF4-FFF2-40B4-BE49-F238E27FC236}">
                <a16:creationId xmlns:a16="http://schemas.microsoft.com/office/drawing/2014/main" id="{26728A83-A338-DBEB-91EB-BACC0922A4F4}"/>
              </a:ext>
            </a:extLst>
          </p:cNvPr>
          <p:cNvSpPr/>
          <p:nvPr/>
        </p:nvSpPr>
        <p:spPr>
          <a:xfrm>
            <a:off x="9215920" y="4636119"/>
            <a:ext cx="1252554" cy="424800"/>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Δήλωση αποστολής;</a:t>
            </a:r>
          </a:p>
        </p:txBody>
      </p:sp>
      <p:sp>
        <p:nvSpPr>
          <p:cNvPr id="18" name="Rechteck 63">
            <a:extLst>
              <a:ext uri="{FF2B5EF4-FFF2-40B4-BE49-F238E27FC236}">
                <a16:creationId xmlns:a16="http://schemas.microsoft.com/office/drawing/2014/main" id="{9ED22350-4069-274B-8C8D-F5FD366A5055}"/>
              </a:ext>
            </a:extLst>
          </p:cNvPr>
          <p:cNvSpPr/>
          <p:nvPr/>
        </p:nvSpPr>
        <p:spPr>
          <a:xfrm>
            <a:off x="6290925" y="4177289"/>
            <a:ext cx="1405522" cy="424800"/>
          </a:xfrm>
          <a:prstGeom prst="rect">
            <a:avLst/>
          </a:prstGeom>
          <a:solidFill>
            <a:srgbClr val="B41F7A"/>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Προϊόντα;</a:t>
            </a:r>
          </a:p>
        </p:txBody>
      </p:sp>
      <p:sp>
        <p:nvSpPr>
          <p:cNvPr id="19" name="Rechteck 64">
            <a:extLst>
              <a:ext uri="{FF2B5EF4-FFF2-40B4-BE49-F238E27FC236}">
                <a16:creationId xmlns:a16="http://schemas.microsoft.com/office/drawing/2014/main" id="{A147587B-FBD1-07F2-DADB-D9771C7003BC}"/>
              </a:ext>
            </a:extLst>
          </p:cNvPr>
          <p:cNvSpPr/>
          <p:nvPr/>
        </p:nvSpPr>
        <p:spPr>
          <a:xfrm>
            <a:off x="7851486" y="4155597"/>
            <a:ext cx="1252565"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Προϊόντα;</a:t>
            </a:r>
          </a:p>
        </p:txBody>
      </p:sp>
      <p:sp>
        <p:nvSpPr>
          <p:cNvPr id="20" name="Rechteck 65">
            <a:extLst>
              <a:ext uri="{FF2B5EF4-FFF2-40B4-BE49-F238E27FC236}">
                <a16:creationId xmlns:a16="http://schemas.microsoft.com/office/drawing/2014/main" id="{C558A03E-7803-994D-E751-74908C758313}"/>
              </a:ext>
            </a:extLst>
          </p:cNvPr>
          <p:cNvSpPr/>
          <p:nvPr/>
        </p:nvSpPr>
        <p:spPr>
          <a:xfrm>
            <a:off x="9205258" y="4163340"/>
            <a:ext cx="1252554" cy="424800"/>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Προϊόντα;</a:t>
            </a:r>
          </a:p>
        </p:txBody>
      </p:sp>
      <p:sp>
        <p:nvSpPr>
          <p:cNvPr id="21" name="Rechteck 67">
            <a:extLst>
              <a:ext uri="{FF2B5EF4-FFF2-40B4-BE49-F238E27FC236}">
                <a16:creationId xmlns:a16="http://schemas.microsoft.com/office/drawing/2014/main" id="{C9AC0698-3F2D-AC0C-D9C4-2E2E6B50BB8D}"/>
              </a:ext>
            </a:extLst>
          </p:cNvPr>
          <p:cNvSpPr/>
          <p:nvPr/>
        </p:nvSpPr>
        <p:spPr>
          <a:xfrm>
            <a:off x="7874194" y="3673003"/>
            <a:ext cx="1252565"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Ίδια κεφάλαια;</a:t>
            </a:r>
          </a:p>
        </p:txBody>
      </p:sp>
      <p:sp>
        <p:nvSpPr>
          <p:cNvPr id="22" name="Rechteck 68">
            <a:extLst>
              <a:ext uri="{FF2B5EF4-FFF2-40B4-BE49-F238E27FC236}">
                <a16:creationId xmlns:a16="http://schemas.microsoft.com/office/drawing/2014/main" id="{8346D8CF-881A-9685-4787-A5DCBA6D0C05}"/>
              </a:ext>
            </a:extLst>
          </p:cNvPr>
          <p:cNvSpPr/>
          <p:nvPr/>
        </p:nvSpPr>
        <p:spPr>
          <a:xfrm>
            <a:off x="9199548" y="3690683"/>
            <a:ext cx="1252554" cy="424800"/>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Ίδια κεφάλαια;</a:t>
            </a:r>
          </a:p>
        </p:txBody>
      </p:sp>
      <p:sp>
        <p:nvSpPr>
          <p:cNvPr id="23" name="Rechteck 69">
            <a:extLst>
              <a:ext uri="{FF2B5EF4-FFF2-40B4-BE49-F238E27FC236}">
                <a16:creationId xmlns:a16="http://schemas.microsoft.com/office/drawing/2014/main" id="{FC5054B8-98B2-3B8B-B862-D852DB948CB9}"/>
              </a:ext>
            </a:extLst>
          </p:cNvPr>
          <p:cNvSpPr/>
          <p:nvPr/>
        </p:nvSpPr>
        <p:spPr>
          <a:xfrm>
            <a:off x="9199548" y="3216600"/>
            <a:ext cx="1252554" cy="424800"/>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Ρευστά κεφάλαια;</a:t>
            </a:r>
          </a:p>
        </p:txBody>
      </p:sp>
      <p:sp>
        <p:nvSpPr>
          <p:cNvPr id="24" name="Gleichschenkliges Dreieck 2">
            <a:extLst>
              <a:ext uri="{FF2B5EF4-FFF2-40B4-BE49-F238E27FC236}">
                <a16:creationId xmlns:a16="http://schemas.microsoft.com/office/drawing/2014/main" id="{A206D1BB-178F-A265-D4F2-9B987DA73FFE}"/>
              </a:ext>
            </a:extLst>
          </p:cNvPr>
          <p:cNvSpPr/>
          <p:nvPr/>
        </p:nvSpPr>
        <p:spPr>
          <a:xfrm rot="16200000">
            <a:off x="5942590" y="-1681914"/>
            <a:ext cx="1829262" cy="7189762"/>
          </a:xfrm>
          <a:prstGeom prst="triangle">
            <a:avLst>
              <a:gd name="adj" fmla="val 48182"/>
            </a:avLst>
          </a:prstGeom>
          <a:solidFill>
            <a:srgbClr val="B41F7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sz="2400" b="1" dirty="0"/>
              <a:t>Πίεση αντίδρασης</a:t>
            </a:r>
          </a:p>
        </p:txBody>
      </p:sp>
      <p:sp>
        <p:nvSpPr>
          <p:cNvPr id="33" name="TextBox 16">
            <a:extLst>
              <a:ext uri="{FF2B5EF4-FFF2-40B4-BE49-F238E27FC236}">
                <a16:creationId xmlns:a16="http://schemas.microsoft.com/office/drawing/2014/main" id="{EE7F7FD2-9D28-F851-1E67-8D10D8B32C9E}"/>
              </a:ext>
            </a:extLst>
          </p:cNvPr>
          <p:cNvSpPr txBox="1"/>
          <p:nvPr/>
        </p:nvSpPr>
        <p:spPr>
          <a:xfrm>
            <a:off x="5513092" y="6498071"/>
            <a:ext cx="15120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Κρίση προϊόντος/πωλήσεων</a:t>
            </a:r>
          </a:p>
        </p:txBody>
      </p:sp>
      <p:pic>
        <p:nvPicPr>
          <p:cNvPr id="51" name="Slika 4">
            <a:extLst>
              <a:ext uri="{FF2B5EF4-FFF2-40B4-BE49-F238E27FC236}">
                <a16:creationId xmlns:a16="http://schemas.microsoft.com/office/drawing/2014/main" id="{9C791D75-2EE0-082F-AF53-AB4AF9D537A8}"/>
              </a:ext>
            </a:extLst>
          </p:cNvPr>
          <p:cNvPicPr>
            <a:picLocks noChangeAspect="1"/>
          </p:cNvPicPr>
          <p:nvPr/>
        </p:nvPicPr>
        <p:blipFill>
          <a:blip r:embed="rId7"/>
          <a:stretch>
            <a:fillRect/>
          </a:stretch>
        </p:blipFill>
        <p:spPr>
          <a:xfrm>
            <a:off x="7835438" y="6205664"/>
            <a:ext cx="4151891" cy="586791"/>
          </a:xfrm>
          <a:prstGeom prst="rect">
            <a:avLst/>
          </a:prstGeom>
        </p:spPr>
      </p:pic>
      <p:sp>
        <p:nvSpPr>
          <p:cNvPr id="52" name="Rectangle 51">
            <a:extLst>
              <a:ext uri="{FF2B5EF4-FFF2-40B4-BE49-F238E27FC236}">
                <a16:creationId xmlns:a16="http://schemas.microsoft.com/office/drawing/2014/main" id="{29E84852-C842-2FC1-B6A0-6D63A1448DD5}"/>
              </a:ext>
            </a:extLst>
          </p:cNvPr>
          <p:cNvSpPr/>
          <p:nvPr/>
        </p:nvSpPr>
        <p:spPr>
          <a:xfrm>
            <a:off x="0" y="0"/>
            <a:ext cx="3087951"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 Placeholder 1">
            <a:extLst>
              <a:ext uri="{FF2B5EF4-FFF2-40B4-BE49-F238E27FC236}">
                <a16:creationId xmlns:a16="http://schemas.microsoft.com/office/drawing/2014/main" id="{4C2224FB-E586-709B-D818-929C4CB6F99F}"/>
              </a:ext>
            </a:extLst>
          </p:cNvPr>
          <p:cNvSpPr txBox="1">
            <a:spLocks/>
          </p:cNvSpPr>
          <p:nvPr/>
        </p:nvSpPr>
        <p:spPr>
          <a:xfrm>
            <a:off x="341105" y="3429000"/>
            <a:ext cx="2571797" cy="306907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2200" dirty="0">
                <a:solidFill>
                  <a:schemeClr val="bg1"/>
                </a:solidFill>
              </a:rPr>
              <a:t>Στο πλαίσιο της ιδανικής τυπικής πορείας μιας επιχειρηματικής κρίσης, οι προβληματικές περιοχές που πρέπει να επιλυθούν ΚΑΙ η πίεση για αντίδραση αυξάνονται.</a:t>
            </a:r>
          </a:p>
        </p:txBody>
      </p:sp>
      <p:sp>
        <p:nvSpPr>
          <p:cNvPr id="54" name="Textplatzhalter 32">
            <a:extLst>
              <a:ext uri="{FF2B5EF4-FFF2-40B4-BE49-F238E27FC236}">
                <a16:creationId xmlns:a16="http://schemas.microsoft.com/office/drawing/2014/main" id="{4D1DE222-7BC3-81C3-41F3-567C60647710}"/>
              </a:ext>
            </a:extLst>
          </p:cNvPr>
          <p:cNvSpPr txBox="1">
            <a:spLocks/>
          </p:cNvSpPr>
          <p:nvPr/>
        </p:nvSpPr>
        <p:spPr>
          <a:xfrm>
            <a:off x="123743" y="270462"/>
            <a:ext cx="2964208" cy="216087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sz="3200" dirty="0">
                <a:solidFill>
                  <a:schemeClr val="bg1"/>
                </a:solidFill>
              </a:rPr>
              <a:t>Προβληματικές περιοχές και πίεση (παραδείγματα)</a:t>
            </a:r>
          </a:p>
        </p:txBody>
      </p:sp>
      <p:sp>
        <p:nvSpPr>
          <p:cNvPr id="59" name="Rectangle 58">
            <a:extLst>
              <a:ext uri="{FF2B5EF4-FFF2-40B4-BE49-F238E27FC236}">
                <a16:creationId xmlns:a16="http://schemas.microsoft.com/office/drawing/2014/main" id="{34D030E0-87B2-DE25-3C78-9C29FAEBE7D0}"/>
              </a:ext>
            </a:extLst>
          </p:cNvPr>
          <p:cNvSpPr/>
          <p:nvPr/>
        </p:nvSpPr>
        <p:spPr>
          <a:xfrm>
            <a:off x="360325" y="26119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84" name="Chevron 4">
            <a:extLst>
              <a:ext uri="{FF2B5EF4-FFF2-40B4-BE49-F238E27FC236}">
                <a16:creationId xmlns:a16="http://schemas.microsoft.com/office/drawing/2014/main" id="{DDC0F844-A373-CA22-5231-F25FFEDBF324}"/>
              </a:ext>
            </a:extLst>
          </p:cNvPr>
          <p:cNvSpPr/>
          <p:nvPr/>
        </p:nvSpPr>
        <p:spPr>
          <a:xfrm>
            <a:off x="6342487" y="5710142"/>
            <a:ext cx="1405522"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5" name="Chevron 1">
            <a:extLst>
              <a:ext uri="{FF2B5EF4-FFF2-40B4-BE49-F238E27FC236}">
                <a16:creationId xmlns:a16="http://schemas.microsoft.com/office/drawing/2014/main" id="{93DF3FC0-82C3-D6D0-85B0-EC63ACC10AAD}"/>
              </a:ext>
            </a:extLst>
          </p:cNvPr>
          <p:cNvSpPr/>
          <p:nvPr/>
        </p:nvSpPr>
        <p:spPr>
          <a:xfrm>
            <a:off x="3305314" y="5713395"/>
            <a:ext cx="1430861"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6" name="Chevron 2">
            <a:extLst>
              <a:ext uri="{FF2B5EF4-FFF2-40B4-BE49-F238E27FC236}">
                <a16:creationId xmlns:a16="http://schemas.microsoft.com/office/drawing/2014/main" id="{23A7156A-2274-9106-D53A-7CC4791058FF}"/>
              </a:ext>
            </a:extLst>
          </p:cNvPr>
          <p:cNvSpPr/>
          <p:nvPr/>
        </p:nvSpPr>
        <p:spPr>
          <a:xfrm>
            <a:off x="4782573" y="5710142"/>
            <a:ext cx="1532910"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7" name="Chevron 4">
            <a:extLst>
              <a:ext uri="{FF2B5EF4-FFF2-40B4-BE49-F238E27FC236}">
                <a16:creationId xmlns:a16="http://schemas.microsoft.com/office/drawing/2014/main" id="{279822E2-AA66-4F01-BDA8-1FE15E8474BE}"/>
              </a:ext>
            </a:extLst>
          </p:cNvPr>
          <p:cNvSpPr/>
          <p:nvPr/>
        </p:nvSpPr>
        <p:spPr>
          <a:xfrm>
            <a:off x="7794674" y="5710142"/>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8" name="Chevron 5">
            <a:extLst>
              <a:ext uri="{FF2B5EF4-FFF2-40B4-BE49-F238E27FC236}">
                <a16:creationId xmlns:a16="http://schemas.microsoft.com/office/drawing/2014/main" id="{A15C255B-E84E-94D2-F4BB-C2F5A46A8493}"/>
              </a:ext>
            </a:extLst>
          </p:cNvPr>
          <p:cNvSpPr/>
          <p:nvPr/>
        </p:nvSpPr>
        <p:spPr>
          <a:xfrm>
            <a:off x="9286014" y="5710163"/>
            <a:ext cx="1171798"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9" name="TextBox 14">
            <a:extLst>
              <a:ext uri="{FF2B5EF4-FFF2-40B4-BE49-F238E27FC236}">
                <a16:creationId xmlns:a16="http://schemas.microsoft.com/office/drawing/2014/main" id="{775D93B9-5581-1310-833E-F1C69436F1C0}"/>
              </a:ext>
            </a:extLst>
          </p:cNvPr>
          <p:cNvSpPr txBox="1"/>
          <p:nvPr/>
        </p:nvSpPr>
        <p:spPr>
          <a:xfrm>
            <a:off x="3399346" y="5743779"/>
            <a:ext cx="132601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των ενδιαφερομένων μερών</a:t>
            </a:r>
          </a:p>
        </p:txBody>
      </p:sp>
      <p:sp>
        <p:nvSpPr>
          <p:cNvPr id="90" name="TextBox 15">
            <a:extLst>
              <a:ext uri="{FF2B5EF4-FFF2-40B4-BE49-F238E27FC236}">
                <a16:creationId xmlns:a16="http://schemas.microsoft.com/office/drawing/2014/main" id="{CE4A5EA0-4847-1F1B-F45E-104D5593BF32}"/>
              </a:ext>
            </a:extLst>
          </p:cNvPr>
          <p:cNvSpPr txBox="1"/>
          <p:nvPr/>
        </p:nvSpPr>
        <p:spPr>
          <a:xfrm>
            <a:off x="4900503" y="5863548"/>
            <a:ext cx="1499829"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Στρατηγική Κρίση</a:t>
            </a:r>
          </a:p>
        </p:txBody>
      </p:sp>
      <p:sp>
        <p:nvSpPr>
          <p:cNvPr id="91" name="TextBox 16">
            <a:extLst>
              <a:ext uri="{FF2B5EF4-FFF2-40B4-BE49-F238E27FC236}">
                <a16:creationId xmlns:a16="http://schemas.microsoft.com/office/drawing/2014/main" id="{80A82079-ED62-0929-6E37-23DBE4E15E33}"/>
              </a:ext>
            </a:extLst>
          </p:cNvPr>
          <p:cNvSpPr txBox="1"/>
          <p:nvPr/>
        </p:nvSpPr>
        <p:spPr>
          <a:xfrm>
            <a:off x="6495133" y="5751494"/>
            <a:ext cx="1235792"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προϊόντος/πωλήσεων</a:t>
            </a:r>
          </a:p>
        </p:txBody>
      </p:sp>
      <p:sp>
        <p:nvSpPr>
          <p:cNvPr id="92" name="TextBox 17">
            <a:extLst>
              <a:ext uri="{FF2B5EF4-FFF2-40B4-BE49-F238E27FC236}">
                <a16:creationId xmlns:a16="http://schemas.microsoft.com/office/drawing/2014/main" id="{590BC631-5B90-F067-2E1C-6C90C2D90641}"/>
              </a:ext>
            </a:extLst>
          </p:cNvPr>
          <p:cNvSpPr txBox="1"/>
          <p:nvPr/>
        </p:nvSpPr>
        <p:spPr>
          <a:xfrm>
            <a:off x="8076959" y="5736096"/>
            <a:ext cx="956086"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κερδών</a:t>
            </a:r>
          </a:p>
        </p:txBody>
      </p:sp>
      <p:sp>
        <p:nvSpPr>
          <p:cNvPr id="93" name="TextBox 18">
            <a:extLst>
              <a:ext uri="{FF2B5EF4-FFF2-40B4-BE49-F238E27FC236}">
                <a16:creationId xmlns:a16="http://schemas.microsoft.com/office/drawing/2014/main" id="{B24675F0-0F6A-17A3-8C34-8516DB94750C}"/>
              </a:ext>
            </a:extLst>
          </p:cNvPr>
          <p:cNvSpPr txBox="1"/>
          <p:nvPr/>
        </p:nvSpPr>
        <p:spPr>
          <a:xfrm>
            <a:off x="9438260" y="5745405"/>
            <a:ext cx="1072733"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Κρίση ρευστότητας</a:t>
            </a:r>
          </a:p>
        </p:txBody>
      </p:sp>
      <p:sp>
        <p:nvSpPr>
          <p:cNvPr id="94" name="Chevron 5">
            <a:extLst>
              <a:ext uri="{FF2B5EF4-FFF2-40B4-BE49-F238E27FC236}">
                <a16:creationId xmlns:a16="http://schemas.microsoft.com/office/drawing/2014/main" id="{83EDD07C-2767-79BB-ACFD-9F68D339B142}"/>
              </a:ext>
            </a:extLst>
          </p:cNvPr>
          <p:cNvSpPr/>
          <p:nvPr/>
        </p:nvSpPr>
        <p:spPr>
          <a:xfrm>
            <a:off x="10471930" y="5714163"/>
            <a:ext cx="1171798"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95" name="TextBox 18">
            <a:extLst>
              <a:ext uri="{FF2B5EF4-FFF2-40B4-BE49-F238E27FC236}">
                <a16:creationId xmlns:a16="http://schemas.microsoft.com/office/drawing/2014/main" id="{BE3A0C59-C53B-0938-D989-C3BB2D8D689D}"/>
              </a:ext>
            </a:extLst>
          </p:cNvPr>
          <p:cNvSpPr txBox="1"/>
          <p:nvPr/>
        </p:nvSpPr>
        <p:spPr>
          <a:xfrm>
            <a:off x="10601689" y="5849703"/>
            <a:ext cx="1051803"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Αφερεγγυότητα</a:t>
            </a:r>
          </a:p>
        </p:txBody>
      </p:sp>
    </p:spTree>
    <p:extLst>
      <p:ext uri="{BB962C8B-B14F-4D97-AF65-F5344CB8AC3E}">
        <p14:creationId xmlns:p14="http://schemas.microsoft.com/office/powerpoint/2010/main" val="3249747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IE" dirty="0">
                <a:solidFill>
                  <a:schemeClr val="bg1"/>
                </a:solidFill>
              </a:rPr>
              <a:t>	 ΒΥΘΙΣΤΕ ΠΙΟ ΒΑΘΙΑ</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380214" y="1769734"/>
            <a:ext cx="6388994" cy="4743706"/>
          </a:xfrm>
        </p:spPr>
        <p:txBody>
          <a:bodyPr>
            <a:noAutofit/>
          </a:bodyPr>
          <a:lstStyle/>
          <a:p>
            <a:pPr marL="12700" indent="-12700" algn="just">
              <a:lnSpc>
                <a:spcPct val="100000"/>
              </a:lnSpc>
            </a:pPr>
            <a:r>
              <a:rPr lang="en-GB" sz="2000" dirty="0">
                <a:hlinkClick r:id="rId3"/>
              </a:rPr>
              <a:t>Μικρές επιχειρήσεις σε περίοδο κρίσης: ScienceDirect</a:t>
            </a:r>
            <a:endParaRPr lang="en-GB" sz="2000" b="1" dirty="0"/>
          </a:p>
          <a:p>
            <a:pPr marL="12700" indent="-12700" algn="just">
              <a:lnSpc>
                <a:spcPct val="100000"/>
              </a:lnSpc>
            </a:pPr>
            <a:r>
              <a:rPr lang="en-GB" sz="2000" b="1" dirty="0">
                <a:solidFill>
                  <a:srgbClr val="B41F7A"/>
                </a:solidFill>
                <a:ea typeface="Lato Light" panose="020F0502020204030203" pitchFamily="34" charset="0"/>
                <a:cs typeface="Calibri" panose="020F0502020204030204" pitchFamily="34" charset="0"/>
              </a:rPr>
              <a:t>Ο επικεφαλής συνεργάτης του SECure, το Τεχνολογικό Πανεπιστήμιο Atlantic και η ομάδα τους Simon Stephens, Christopher McLaughlin, Katrina McLaughlin, δημοσίευσαν μια συναρπαστική έρευνα με θέμα "Μικρές επιχειρήσεις σε περίοδο κρίσης": Ένα μοντέλο πέντε σταδίων επιχειρηματικής θλίψης. </a:t>
            </a:r>
          </a:p>
          <a:p>
            <a:pPr marL="12700" indent="-12700" algn="just">
              <a:lnSpc>
                <a:spcPct val="100000"/>
              </a:lnSpc>
            </a:pPr>
            <a:r>
              <a:rPr lang="en-GB" sz="2000" dirty="0">
                <a:ea typeface="Lato Light" panose="020F0502020204030203" pitchFamily="34" charset="0"/>
                <a:cs typeface="Calibri" panose="020F0502020204030204" pitchFamily="34" charset="0"/>
              </a:rPr>
              <a:t>Στο έγγραφο εξετάζουν τις επιπτώσεις που έχει μια κρίση όπως αυτή που δημιουργήθηκε από το COVID-19 στην ψυχολογική ευημερία των ιδιοκτητών μικρών επιχειρήσεων. Χρησιμοποιούν την ψυχολογική βιβλιογραφία σχετικά με το πένθος, συγκεκριμένα το μοντέλο πέντε σταδίων του πένθους των Kübler-Ross (1969) για να εξετάσουν τις επιπτώσεις. </a:t>
            </a:r>
          </a:p>
        </p:txBody>
      </p:sp>
      <p:pic>
        <p:nvPicPr>
          <p:cNvPr id="22" name="Picture 21" descr="Feet above water">
            <a:extLst>
              <a:ext uri="{FF2B5EF4-FFF2-40B4-BE49-F238E27FC236}">
                <a16:creationId xmlns:a16="http://schemas.microsoft.com/office/drawing/2014/main" id="{CA8F0F6E-15A0-4D75-B563-E00FB8104F8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29376" y="1714500"/>
            <a:ext cx="4719929" cy="3429000"/>
          </a:xfrm>
          <a:prstGeom prst="rect">
            <a:avLst/>
          </a:prstGeom>
        </p:spPr>
      </p:pic>
      <p:sp>
        <p:nvSpPr>
          <p:cNvPr id="24" name="TextBox 23">
            <a:extLst>
              <a:ext uri="{FF2B5EF4-FFF2-40B4-BE49-F238E27FC236}">
                <a16:creationId xmlns:a16="http://schemas.microsoft.com/office/drawing/2014/main" id="{35579B68-9BBF-E505-720E-66A80B2D7DDD}"/>
              </a:ext>
            </a:extLst>
          </p:cNvPr>
          <p:cNvSpPr txBox="1"/>
          <p:nvPr/>
        </p:nvSpPr>
        <p:spPr>
          <a:xfrm>
            <a:off x="7212417" y="5287890"/>
            <a:ext cx="4719929" cy="1570110"/>
          </a:xfrm>
          <a:prstGeom prst="rect">
            <a:avLst/>
          </a:prstGeom>
          <a:noFill/>
        </p:spPr>
        <p:txBody>
          <a:bodyPr wrap="square">
            <a:spAutoFit/>
          </a:bodyPr>
          <a:lstStyle/>
          <a:p>
            <a:pPr marL="12700" indent="-12700" algn="just">
              <a:lnSpc>
                <a:spcPct val="110000"/>
              </a:lnSpc>
            </a:pPr>
            <a:r>
              <a:rPr lang="en-GB" sz="1400" b="1" dirty="0">
                <a:solidFill>
                  <a:srgbClr val="595959"/>
                </a:solidFill>
                <a:latin typeface="Calibri" panose="020F0502020204030204" pitchFamily="34" charset="0"/>
                <a:ea typeface="Lato Light" panose="020F0502020204030203" pitchFamily="34" charset="0"/>
                <a:cs typeface="Calibri" panose="020F0502020204030204" pitchFamily="34" charset="0"/>
              </a:rPr>
              <a:t>Journal of Business Venturing Insights,</a:t>
            </a:r>
          </a:p>
          <a:p>
            <a:pPr marL="12700" indent="-12700" algn="just">
              <a:lnSpc>
                <a:spcPct val="110000"/>
              </a:lnSpc>
            </a:pPr>
            <a:r>
              <a:rPr lang="en-GB" sz="1400" b="1" dirty="0">
                <a:solidFill>
                  <a:srgbClr val="595959"/>
                </a:solidFill>
                <a:latin typeface="Calibri" panose="020F0502020204030204" pitchFamily="34" charset="0"/>
                <a:ea typeface="Lato Light" panose="020F0502020204030203" pitchFamily="34" charset="0"/>
                <a:cs typeface="Calibri" panose="020F0502020204030204" pitchFamily="34" charset="0"/>
              </a:rPr>
              <a:t>Τόμος 16, 2021, e00282, ISSN 2352-6734,</a:t>
            </a:r>
          </a:p>
          <a:p>
            <a:pPr marL="12700" indent="-12700" algn="just">
              <a:lnSpc>
                <a:spcPct val="110000"/>
              </a:lnSpc>
            </a:pP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rPr>
              <a:t>https://doi.org/10.1016/j.jbvi.2021.e00282.</a:t>
            </a:r>
          </a:p>
          <a:p>
            <a:pPr marL="12700" indent="-12700" algn="just">
              <a:lnSpc>
                <a:spcPct val="110000"/>
              </a:lnSpc>
            </a:pPr>
            <a:r>
              <a:rPr lang="en-US" sz="1800" b="1" dirty="0">
                <a:solidFill>
                  <a:schemeClr val="bg1"/>
                </a:solidFill>
                <a:highlight>
                  <a:srgbClr val="F16924"/>
                </a:highlight>
              </a:rPr>
              <a:t>ΔΙΑΒΑΣΤΕ </a:t>
            </a: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rPr>
              <a:t>https://www.sciencedirect.com/science/article/pii/S2352673421000603</a:t>
            </a:r>
          </a:p>
        </p:txBody>
      </p:sp>
    </p:spTree>
    <p:extLst>
      <p:ext uri="{BB962C8B-B14F-4D97-AF65-F5344CB8AC3E}">
        <p14:creationId xmlns:p14="http://schemas.microsoft.com/office/powerpoint/2010/main" val="31700429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IE" dirty="0">
                <a:solidFill>
                  <a:schemeClr val="bg1"/>
                </a:solidFill>
              </a:rPr>
              <a:t>	 ΒΥΘΙΣΤΕ ΠΙΟ ΒΑΘΙΑ</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380214" y="1687072"/>
            <a:ext cx="6722190" cy="4743706"/>
          </a:xfrm>
        </p:spPr>
        <p:txBody>
          <a:bodyPr>
            <a:noAutofit/>
          </a:bodyPr>
          <a:lstStyle/>
          <a:p>
            <a:pPr marL="12700" indent="-12700" algn="just">
              <a:lnSpc>
                <a:spcPct val="110000"/>
              </a:lnSpc>
            </a:pPr>
            <a:r>
              <a:rPr lang="en-GB" sz="1800" dirty="0">
                <a:latin typeface="Calibri" panose="020F0502020204030204" pitchFamily="34" charset="0"/>
                <a:ea typeface="Lato Light" panose="020F0502020204030203" pitchFamily="34" charset="0"/>
                <a:cs typeface="Calibri" panose="020F0502020204030204" pitchFamily="34" charset="0"/>
              </a:rPr>
              <a:t>Η ανασκόπηση της βιβλιογραφίας δείχνει ότι, αν και υπάρχουν επικριτές της προσέγγισης που βασίζεται στα στάδια, υπάρχουν και υποστηρικτές της χρήσης των σταδίων για να μας βοηθήσουν να πλαισιώσουμε και να κατανοήσουμε τις εκδηλώσεις του πένθους. Τα δεδομένα συλλέχθηκαν από σαράντα ιδιοκτήτες μικρών επιχειρήσεων με έδρα την Ιρλανδία. Τα δεδομένα συλλέχθηκαν πέντε φορές σε διάστημα έξι μηνών (Μάρτιος-Σεπτέμβριος 2020). Το αποτέλεσμα είναι ένα μοντέλο πέντε σταδίων του επιχειρηματικού πένθους. Τα ευρήματα παρέχουν πληροφορίες για τη συναισθηματική σχέση μεταξύ ενός ιδιοκτήτη και της μικρής επιχείρησής του. Προτείνουν ότι το κλείσιμο μιας επιχείρησης μπορεί να προκαλέσει θλίψη στους ιδιοκτήτες μικρών επιχειρήσεων με τρόπο που ευθυγραμμίζεται με μια σειρά από στάδια και ότι τα στάδια αυτά μπορούν να μοντελοποιηθούν και να απεικονιστούν.</a:t>
            </a:r>
          </a:p>
        </p:txBody>
      </p:sp>
      <p:pic>
        <p:nvPicPr>
          <p:cNvPr id="22" name="Picture 21" descr="Feet above water">
            <a:extLst>
              <a:ext uri="{FF2B5EF4-FFF2-40B4-BE49-F238E27FC236}">
                <a16:creationId xmlns:a16="http://schemas.microsoft.com/office/drawing/2014/main" id="{CA8F0F6E-15A0-4D75-B563-E00FB8104F8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29376" y="1714500"/>
            <a:ext cx="4719929" cy="3429000"/>
          </a:xfrm>
          <a:prstGeom prst="rect">
            <a:avLst/>
          </a:prstGeom>
        </p:spPr>
      </p:pic>
      <p:sp>
        <p:nvSpPr>
          <p:cNvPr id="24" name="TextBox 23">
            <a:extLst>
              <a:ext uri="{FF2B5EF4-FFF2-40B4-BE49-F238E27FC236}">
                <a16:creationId xmlns:a16="http://schemas.microsoft.com/office/drawing/2014/main" id="{35579B68-9BBF-E505-720E-66A80B2D7DDD}"/>
              </a:ext>
            </a:extLst>
          </p:cNvPr>
          <p:cNvSpPr txBox="1"/>
          <p:nvPr/>
        </p:nvSpPr>
        <p:spPr>
          <a:xfrm>
            <a:off x="7329376" y="5166391"/>
            <a:ext cx="4719929" cy="1570110"/>
          </a:xfrm>
          <a:prstGeom prst="rect">
            <a:avLst/>
          </a:prstGeom>
          <a:noFill/>
        </p:spPr>
        <p:txBody>
          <a:bodyPr wrap="square">
            <a:spAutoFit/>
          </a:bodyPr>
          <a:lstStyle/>
          <a:p>
            <a:pPr marL="12700" indent="-12700" algn="just">
              <a:lnSpc>
                <a:spcPct val="110000"/>
              </a:lnSpc>
            </a:pPr>
            <a:r>
              <a:rPr lang="en-GB" sz="1400" b="1" dirty="0">
                <a:solidFill>
                  <a:srgbClr val="595959"/>
                </a:solidFill>
                <a:latin typeface="Calibri" panose="020F0502020204030204" pitchFamily="34" charset="0"/>
                <a:ea typeface="Lato Light" panose="020F0502020204030203" pitchFamily="34" charset="0"/>
                <a:cs typeface="Calibri" panose="020F0502020204030204" pitchFamily="34" charset="0"/>
              </a:rPr>
              <a:t>Journal of Business Venturing Insights,</a:t>
            </a:r>
          </a:p>
          <a:p>
            <a:pPr marL="12700" indent="-12700" algn="just">
              <a:lnSpc>
                <a:spcPct val="110000"/>
              </a:lnSpc>
            </a:pPr>
            <a:r>
              <a:rPr lang="en-GB" sz="1400" b="1" dirty="0">
                <a:solidFill>
                  <a:srgbClr val="595959"/>
                </a:solidFill>
                <a:latin typeface="Calibri" panose="020F0502020204030204" pitchFamily="34" charset="0"/>
                <a:ea typeface="Lato Light" panose="020F0502020204030203" pitchFamily="34" charset="0"/>
                <a:cs typeface="Calibri" panose="020F0502020204030204" pitchFamily="34" charset="0"/>
              </a:rPr>
              <a:t>Τόμος 16, 2021, e00282, ISSN 2352-6734,</a:t>
            </a:r>
          </a:p>
          <a:p>
            <a:pPr marL="12700" indent="-12700" algn="just">
              <a:lnSpc>
                <a:spcPct val="110000"/>
              </a:lnSpc>
            </a:pP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rPr>
              <a:t>https://doi.org/10.1016/j.jbvi.2021.e00282.</a:t>
            </a:r>
          </a:p>
          <a:p>
            <a:pPr marL="12700" indent="-12700" algn="just">
              <a:lnSpc>
                <a:spcPct val="110000"/>
              </a:lnSpc>
            </a:pPr>
            <a:r>
              <a:rPr lang="en-US" sz="1800" b="1" dirty="0">
                <a:solidFill>
                  <a:schemeClr val="bg1"/>
                </a:solidFill>
                <a:highlight>
                  <a:srgbClr val="F16924"/>
                </a:highlight>
              </a:rPr>
              <a:t>ΔΙΑΒΑΣΤΕ </a:t>
            </a: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rPr>
              <a:t>https://www.sciencedirect.com/science/article/pii/S2352673421000603</a:t>
            </a:r>
          </a:p>
        </p:txBody>
      </p:sp>
    </p:spTree>
    <p:extLst>
      <p:ext uri="{BB962C8B-B14F-4D97-AF65-F5344CB8AC3E}">
        <p14:creationId xmlns:p14="http://schemas.microsoft.com/office/powerpoint/2010/main" val="2424873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78466" y="1379071"/>
            <a:ext cx="4474068" cy="3423588"/>
          </a:xfrm>
        </p:spPr>
        <p:txBody>
          <a:bodyPr>
            <a:normAutofit/>
          </a:bodyPr>
          <a:lstStyle/>
          <a:p>
            <a:r>
              <a:rPr lang="en-US" sz="4000" dirty="0"/>
              <a:t>Σ</a:t>
            </a:r>
            <a:r>
              <a:rPr lang="el-GR" sz="4000" dirty="0"/>
              <a:t>Α</a:t>
            </a:r>
            <a:r>
              <a:rPr lang="en-US" sz="4000" dirty="0"/>
              <a:t>ΡΩΣΗ ΓΙΑ </a:t>
            </a:r>
            <a:r>
              <a:rPr lang="el-GR" sz="4000" dirty="0"/>
              <a:t>Ε</a:t>
            </a:r>
            <a:r>
              <a:rPr lang="en-US" sz="4000" dirty="0"/>
              <a:t>ΓΚΑΙΡΑ ΠΡΟΕΙΔΟΠΟΙΗΤΙΚ</a:t>
            </a:r>
            <a:r>
              <a:rPr lang="el-GR" sz="4000" dirty="0"/>
              <a:t>Α</a:t>
            </a:r>
            <a:r>
              <a:rPr lang="en-US" sz="4000" dirty="0"/>
              <a:t> ΣΗΜ</a:t>
            </a:r>
            <a:r>
              <a:rPr lang="el-GR" sz="4000" dirty="0"/>
              <a:t>Α</a:t>
            </a:r>
            <a:r>
              <a:rPr lang="en-US" sz="4000" dirty="0"/>
              <a:t>ΔΙΑ: </a:t>
            </a:r>
          </a:p>
          <a:p>
            <a:endParaRPr lang="en-US" sz="4000" dirty="0"/>
          </a:p>
          <a:p>
            <a:r>
              <a:rPr lang="en-US" sz="4000" dirty="0"/>
              <a:t>4 βασικοί τομείς </a:t>
            </a:r>
          </a:p>
        </p:txBody>
      </p:sp>
      <p:sp>
        <p:nvSpPr>
          <p:cNvPr id="3" name="Text Placeholder 2">
            <a:extLst>
              <a:ext uri="{FF2B5EF4-FFF2-40B4-BE49-F238E27FC236}">
                <a16:creationId xmlns:a16="http://schemas.microsoft.com/office/drawing/2014/main" id="{0B5F2CD6-66FF-60DA-48DE-3B0E78B51457}"/>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19640085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420236" y="2686432"/>
            <a:ext cx="3249235" cy="3642546"/>
          </a:xfrm>
        </p:spPr>
        <p:txBody>
          <a:bodyPr>
            <a:normAutofit/>
          </a:bodyPr>
          <a:lstStyle/>
          <a:p>
            <a:pPr marL="15875" indent="-15875"/>
            <a:r>
              <a:rPr lang="en-US" dirty="0">
                <a:solidFill>
                  <a:schemeClr val="bg1"/>
                </a:solidFill>
              </a:rPr>
              <a:t>Η τακτική, συστηματική και ολοκληρωμένη αξιολόγηση των κινδύνων σε 4 βασικές ενδείξεις έγκαιρης προειδοποίησης/κινδύνου επιτρέπει τη λήψη έγκαιρων αντιμέτρων. </a:t>
            </a:r>
          </a:p>
          <a:p>
            <a:pPr marL="15875" indent="-15875"/>
            <a:r>
              <a:rPr lang="en-US" b="1" dirty="0">
                <a:solidFill>
                  <a:schemeClr val="bg1"/>
                </a:solidFill>
              </a:rPr>
              <a:t>Ας δούμε κάθε έναν από τους 4 τομείς.</a:t>
            </a:r>
          </a:p>
          <a:p>
            <a:pPr marL="15875" indent="-15875"/>
            <a:endParaRPr lang="en-US" dirty="0">
              <a:solidFill>
                <a:schemeClr val="bg1"/>
              </a:solidFill>
            </a:endParaRPr>
          </a:p>
          <a:p>
            <a:pPr marL="15875" indent="-15875"/>
            <a:endParaRPr lang="en-US" dirty="0">
              <a:solidFill>
                <a:schemeClr val="bg1"/>
              </a:solidFill>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55027"/>
            <a:ext cx="3249234" cy="1875850"/>
          </a:xfrm>
        </p:spPr>
        <p:txBody>
          <a:bodyPr>
            <a:normAutofit fontScale="92500" lnSpcReduction="20000"/>
          </a:bodyPr>
          <a:lstStyle/>
          <a:p>
            <a:r>
              <a:rPr lang="en-GB" dirty="0">
                <a:solidFill>
                  <a:schemeClr val="bg1"/>
                </a:solidFill>
              </a:rPr>
              <a:t>Σάρωση για έγκαιρα προειδοποιητικά σημάδια, 4 βασικοί τομείς </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972757" y="235571"/>
            <a:ext cx="5972442" cy="7725192"/>
          </a:xfrm>
          <a:prstGeom prst="rect">
            <a:avLst/>
          </a:prstGeom>
          <a:noFill/>
        </p:spPr>
        <p:txBody>
          <a:bodyPr wrap="square" rtlCol="0">
            <a:spAutoFit/>
          </a:bodyPr>
          <a:lstStyle/>
          <a:p>
            <a:pPr>
              <a:defRPr/>
            </a:pPr>
            <a:r>
              <a:rPr lang="en-US" sz="3400" dirty="0">
                <a:solidFill>
                  <a:srgbClr val="F16924"/>
                </a:solidFill>
              </a:rPr>
              <a:t>01 </a:t>
            </a:r>
            <a:r>
              <a:rPr kumimoji="0" lang="en-GB" sz="2200" b="1" i="0" u="none" strike="noStrike" kern="1200" cap="none" spc="0" normalizeH="0" baseline="0" noProof="0" dirty="0">
                <a:ln>
                  <a:noFill/>
                </a:ln>
                <a:solidFill>
                  <a:srgbClr val="B41F7A"/>
                </a:solidFill>
                <a:effectLst/>
                <a:uLnTx/>
                <a:uFillTx/>
                <a:ea typeface="Roboto" charset="0"/>
                <a:cs typeface="Roboto" charset="0"/>
              </a:rPr>
              <a:t>Θέματα του κλάδου</a:t>
            </a:r>
          </a:p>
          <a:p>
            <a:pPr>
              <a:defRPr/>
            </a:pPr>
            <a:r>
              <a:rPr lang="en-GB" sz="2200" dirty="0">
                <a:solidFill>
                  <a:srgbClr val="595959"/>
                </a:solidFill>
                <a:ea typeface="Lato Light" charset="0"/>
                <a:cs typeface="Lato Light" charset="0"/>
              </a:rPr>
              <a:t>Συστηματική αναζήτηση κινδύνων στον κλάδο στον οποίο δραστηριοποιείται η εταιρεία σας</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3200" b="1" dirty="0">
              <a:solidFill>
                <a:srgbClr val="595959"/>
              </a:solidFill>
              <a:ea typeface="Roboto" charset="0"/>
              <a:cs typeface="Roboto" charset="0"/>
            </a:endParaRPr>
          </a:p>
          <a:p>
            <a:pPr lvl="0">
              <a:defRPr/>
            </a:pPr>
            <a:r>
              <a:rPr lang="en-US" sz="3400" dirty="0">
                <a:solidFill>
                  <a:srgbClr val="F16924"/>
                </a:solidFill>
              </a:rPr>
              <a:t>02 </a:t>
            </a:r>
            <a:r>
              <a:rPr lang="en-GB" sz="2200" b="1" dirty="0">
                <a:solidFill>
                  <a:srgbClr val="B41F7A"/>
                </a:solidFill>
                <a:ea typeface="Roboto" charset="0"/>
                <a:cs typeface="Roboto" charset="0"/>
              </a:rPr>
              <a:t>Οργανωτικά ζητήματα</a:t>
            </a:r>
          </a:p>
          <a:p>
            <a:pPr lvl="0">
              <a:defRPr/>
            </a:pPr>
            <a:r>
              <a:rPr lang="en-GB" sz="2200" dirty="0">
                <a:solidFill>
                  <a:srgbClr val="595959"/>
                </a:solidFill>
                <a:ea typeface="Roboto" charset="0"/>
                <a:cs typeface="Roboto" charset="0"/>
              </a:rPr>
              <a:t>Ανάλυση των κινδύνων που απορρέουν από τον ίδιο τον οργανισμό</a:t>
            </a:r>
          </a:p>
          <a:p>
            <a:pPr lvl="0">
              <a:defRPr/>
            </a:pPr>
            <a:endParaRPr lang="en-GB" sz="3200" dirty="0">
              <a:solidFill>
                <a:srgbClr val="595959"/>
              </a:solidFill>
              <a:ea typeface="Roboto" charset="0"/>
              <a:cs typeface="Roboto" charset="0"/>
            </a:endParaRPr>
          </a:p>
          <a:p>
            <a:pPr lvl="0">
              <a:defRPr/>
            </a:pPr>
            <a:r>
              <a:rPr lang="en-US" sz="3400" dirty="0">
                <a:solidFill>
                  <a:srgbClr val="F16924"/>
                </a:solidFill>
              </a:rPr>
              <a:t>03 </a:t>
            </a:r>
            <a:r>
              <a:rPr lang="en-GB" sz="2200" b="1" dirty="0">
                <a:solidFill>
                  <a:srgbClr val="B41F7A"/>
                </a:solidFill>
                <a:ea typeface="Roboto" charset="0"/>
                <a:cs typeface="Roboto" charset="0"/>
              </a:rPr>
              <a:t>Σχέσεις με τα ενδιαφερόμενα μέρη</a:t>
            </a:r>
          </a:p>
          <a:p>
            <a:pPr lvl="0">
              <a:defRPr/>
            </a:pPr>
            <a:r>
              <a:rPr lang="en-GB" sz="2200" dirty="0">
                <a:solidFill>
                  <a:srgbClr val="595959"/>
                </a:solidFill>
                <a:ea typeface="Roboto" charset="0"/>
                <a:cs typeface="Roboto" charset="0"/>
              </a:rPr>
              <a:t>Ορισμένοι κίνδυνοι απορρέουν από τις ειδικές σχέσεις με τα ενδιαφερόμενα μέρη</a:t>
            </a:r>
          </a:p>
          <a:p>
            <a:pPr lvl="0">
              <a:defRPr/>
            </a:pPr>
            <a:endParaRPr lang="en-GB" sz="3200" dirty="0">
              <a:solidFill>
                <a:srgbClr val="595959"/>
              </a:solidFill>
              <a:ea typeface="Roboto" charset="0"/>
              <a:cs typeface="Roboto" charset="0"/>
            </a:endParaRPr>
          </a:p>
          <a:p>
            <a:pPr lvl="0">
              <a:defRPr/>
            </a:pPr>
            <a:r>
              <a:rPr lang="en-US" sz="3400" dirty="0">
                <a:solidFill>
                  <a:srgbClr val="F16924"/>
                </a:solidFill>
              </a:rPr>
              <a:t>04 </a:t>
            </a:r>
            <a:r>
              <a:rPr lang="en-GB" sz="2200" b="1" dirty="0">
                <a:solidFill>
                  <a:srgbClr val="B41F7A"/>
                </a:solidFill>
                <a:ea typeface="Roboto" charset="0"/>
                <a:cs typeface="Roboto" charset="0"/>
              </a:rPr>
              <a:t>Αξιολογήσεις κινδύνων</a:t>
            </a:r>
          </a:p>
          <a:p>
            <a:pPr lvl="0">
              <a:defRPr/>
            </a:pPr>
            <a:r>
              <a:rPr lang="en-GB" sz="2200" dirty="0">
                <a:solidFill>
                  <a:srgbClr val="595959"/>
                </a:solidFill>
                <a:ea typeface="Roboto" charset="0"/>
                <a:cs typeface="Roboto" charset="0"/>
              </a:rPr>
              <a:t>Συστηματική σάρωση για σιωπηρά ζητήματα</a:t>
            </a:r>
          </a:p>
          <a:p>
            <a:pPr lvl="0">
              <a:defRPr/>
            </a:pPr>
            <a:endParaRPr lang="en-GB" sz="2200" b="1" dirty="0">
              <a:solidFill>
                <a:srgbClr val="595959"/>
              </a:solidFill>
              <a:ea typeface="Roboto" charset="0"/>
              <a:cs typeface="Roboto" charset="0"/>
            </a:endParaRPr>
          </a:p>
          <a:p>
            <a:pPr lvl="0">
              <a:defRPr/>
            </a:pPr>
            <a:endParaRPr lang="en-GB" sz="2200" b="1" dirty="0">
              <a:solidFill>
                <a:srgbClr val="595959"/>
              </a:solidFill>
              <a:ea typeface="Roboto" charset="0"/>
              <a:cs typeface="Roboto" charset="0"/>
            </a:endParaRPr>
          </a:p>
          <a:p>
            <a:pPr lvl="0">
              <a:defRPr/>
            </a:pPr>
            <a:r>
              <a:rPr lang="en-GB" sz="2200" b="1" dirty="0">
                <a:solidFill>
                  <a:srgbClr val="595959"/>
                </a:solidFill>
                <a:ea typeface="Roboto" charset="0"/>
                <a:cs typeface="Roboto" charset="0"/>
              </a:rPr>
              <a:t> </a:t>
            </a:r>
          </a:p>
          <a:p>
            <a:pPr lvl="0">
              <a:defRPr/>
            </a:pPr>
            <a:endParaRPr lang="en-GB" sz="2200" b="1" dirty="0">
              <a:solidFill>
                <a:srgbClr val="595959"/>
              </a:solidFill>
              <a:ea typeface="Roboto" charset="0"/>
              <a:cs typeface="Roboto" charset="0"/>
            </a:endParaRPr>
          </a:p>
          <a:p>
            <a:pPr lvl="0">
              <a:defRPr/>
            </a:pPr>
            <a:endParaRPr lang="en-GB" sz="22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9" name="Graphic 2">
            <a:extLst>
              <a:ext uri="{FF2B5EF4-FFF2-40B4-BE49-F238E27FC236}">
                <a16:creationId xmlns:a16="http://schemas.microsoft.com/office/drawing/2014/main" id="{C1E2E067-FA67-157D-22DF-8943BAFA9428}"/>
              </a:ext>
            </a:extLst>
          </p:cNvPr>
          <p:cNvGrpSpPr/>
          <p:nvPr/>
        </p:nvGrpSpPr>
        <p:grpSpPr>
          <a:xfrm>
            <a:off x="4679980" y="600008"/>
            <a:ext cx="911305" cy="970368"/>
            <a:chOff x="3918554" y="774528"/>
            <a:chExt cx="868197" cy="924466"/>
          </a:xfrm>
          <a:solidFill>
            <a:srgbClr val="595959"/>
          </a:solidFill>
        </p:grpSpPr>
        <p:grpSp>
          <p:nvGrpSpPr>
            <p:cNvPr id="10" name="Graphic 2">
              <a:extLst>
                <a:ext uri="{FF2B5EF4-FFF2-40B4-BE49-F238E27FC236}">
                  <a16:creationId xmlns:a16="http://schemas.microsoft.com/office/drawing/2014/main" id="{0D7C6B1A-D142-FEAC-4678-BAF1F714E9CD}"/>
                </a:ext>
              </a:extLst>
            </p:cNvPr>
            <p:cNvGrpSpPr/>
            <p:nvPr/>
          </p:nvGrpSpPr>
          <p:grpSpPr>
            <a:xfrm>
              <a:off x="3918554" y="774528"/>
              <a:ext cx="868197" cy="924466"/>
              <a:chOff x="3918554" y="774528"/>
              <a:chExt cx="868197" cy="924466"/>
            </a:xfrm>
            <a:grpFill/>
          </p:grpSpPr>
          <p:sp>
            <p:nvSpPr>
              <p:cNvPr id="14" name="Freeform 13">
                <a:extLst>
                  <a:ext uri="{FF2B5EF4-FFF2-40B4-BE49-F238E27FC236}">
                    <a16:creationId xmlns:a16="http://schemas.microsoft.com/office/drawing/2014/main" id="{677499EE-578B-1132-7A99-91BDA0DF845F}"/>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5" name="Freeform 14">
                <a:extLst>
                  <a:ext uri="{FF2B5EF4-FFF2-40B4-BE49-F238E27FC236}">
                    <a16:creationId xmlns:a16="http://schemas.microsoft.com/office/drawing/2014/main" id="{F4BD0802-FB2C-A76A-0D9A-79DCF7F25CDC}"/>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1" name="Graphic 2">
              <a:extLst>
                <a:ext uri="{FF2B5EF4-FFF2-40B4-BE49-F238E27FC236}">
                  <a16:creationId xmlns:a16="http://schemas.microsoft.com/office/drawing/2014/main" id="{B3A72D40-D0D7-2799-E1F0-A850040C23F6}"/>
                </a:ext>
              </a:extLst>
            </p:cNvPr>
            <p:cNvGrpSpPr/>
            <p:nvPr/>
          </p:nvGrpSpPr>
          <p:grpSpPr>
            <a:xfrm>
              <a:off x="3958353" y="890522"/>
              <a:ext cx="708520" cy="605461"/>
              <a:chOff x="3958353" y="890522"/>
              <a:chExt cx="708520" cy="605461"/>
            </a:xfrm>
            <a:grpFill/>
          </p:grpSpPr>
          <p:sp>
            <p:nvSpPr>
              <p:cNvPr id="12" name="Freeform 11">
                <a:extLst>
                  <a:ext uri="{FF2B5EF4-FFF2-40B4-BE49-F238E27FC236}">
                    <a16:creationId xmlns:a16="http://schemas.microsoft.com/office/drawing/2014/main" id="{4B1128B1-C83F-0B69-07F6-BC6B725A1BA0}"/>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 name="Freeform 12">
                <a:extLst>
                  <a:ext uri="{FF2B5EF4-FFF2-40B4-BE49-F238E27FC236}">
                    <a16:creationId xmlns:a16="http://schemas.microsoft.com/office/drawing/2014/main" id="{D20AC160-747D-6F94-AF72-FD7C718A41A8}"/>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16" name="Group 15">
            <a:extLst>
              <a:ext uri="{FF2B5EF4-FFF2-40B4-BE49-F238E27FC236}">
                <a16:creationId xmlns:a16="http://schemas.microsoft.com/office/drawing/2014/main" id="{7AD25DAB-836E-43AC-EAA5-4F0179FEEF59}"/>
              </a:ext>
            </a:extLst>
          </p:cNvPr>
          <p:cNvGrpSpPr/>
          <p:nvPr/>
        </p:nvGrpSpPr>
        <p:grpSpPr>
          <a:xfrm>
            <a:off x="4705476" y="3721748"/>
            <a:ext cx="885534" cy="895928"/>
            <a:chOff x="7190753" y="5365577"/>
            <a:chExt cx="745522" cy="754273"/>
          </a:xfrm>
          <a:solidFill>
            <a:srgbClr val="595959"/>
          </a:solidFill>
        </p:grpSpPr>
        <p:grpSp>
          <p:nvGrpSpPr>
            <p:cNvPr id="17" name="Graphic 2">
              <a:extLst>
                <a:ext uri="{FF2B5EF4-FFF2-40B4-BE49-F238E27FC236}">
                  <a16:creationId xmlns:a16="http://schemas.microsoft.com/office/drawing/2014/main" id="{F43ABC08-1F16-3DAB-9EFF-FB44DAE19CD9}"/>
                </a:ext>
              </a:extLst>
            </p:cNvPr>
            <p:cNvGrpSpPr/>
            <p:nvPr/>
          </p:nvGrpSpPr>
          <p:grpSpPr>
            <a:xfrm>
              <a:off x="7353351" y="5647412"/>
              <a:ext cx="420044" cy="75879"/>
              <a:chOff x="7353351" y="5647412"/>
              <a:chExt cx="420044" cy="75879"/>
            </a:xfrm>
            <a:grpFill/>
          </p:grpSpPr>
          <p:sp>
            <p:nvSpPr>
              <p:cNvPr id="28" name="Freeform 27">
                <a:extLst>
                  <a:ext uri="{FF2B5EF4-FFF2-40B4-BE49-F238E27FC236}">
                    <a16:creationId xmlns:a16="http://schemas.microsoft.com/office/drawing/2014/main" id="{FD7E2E19-270F-1D25-5020-FEA8D46000B1}"/>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082735AE-ADE4-3A3C-374F-27856751B705}"/>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8" name="Graphic 2">
              <a:extLst>
                <a:ext uri="{FF2B5EF4-FFF2-40B4-BE49-F238E27FC236}">
                  <a16:creationId xmlns:a16="http://schemas.microsoft.com/office/drawing/2014/main" id="{E327CCE1-C30F-E836-9526-F9F37F9E6266}"/>
                </a:ext>
              </a:extLst>
            </p:cNvPr>
            <p:cNvGrpSpPr/>
            <p:nvPr/>
          </p:nvGrpSpPr>
          <p:grpSpPr>
            <a:xfrm>
              <a:off x="7190753" y="5365577"/>
              <a:ext cx="745522" cy="754273"/>
              <a:chOff x="7190753" y="5365577"/>
              <a:chExt cx="745522" cy="754273"/>
            </a:xfrm>
            <a:grpFill/>
          </p:grpSpPr>
          <p:sp>
            <p:nvSpPr>
              <p:cNvPr id="19" name="Freeform 18">
                <a:extLst>
                  <a:ext uri="{FF2B5EF4-FFF2-40B4-BE49-F238E27FC236}">
                    <a16:creationId xmlns:a16="http://schemas.microsoft.com/office/drawing/2014/main" id="{E908A2EC-B378-0536-F9E5-201A76264CD2}"/>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BC30E396-FC85-EE06-BCE5-B163826AC530}"/>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3250DFAC-F9A2-0F0C-C9E3-7A163D586198}"/>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B2912BBA-1F52-0DF6-8DB6-D02E5F42E169}"/>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3" name="Freeform 22">
                <a:extLst>
                  <a:ext uri="{FF2B5EF4-FFF2-40B4-BE49-F238E27FC236}">
                    <a16:creationId xmlns:a16="http://schemas.microsoft.com/office/drawing/2014/main" id="{FB0347CB-9C49-E5D1-A19D-F7F3774D9E71}"/>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4" name="Freeform 23">
                <a:extLst>
                  <a:ext uri="{FF2B5EF4-FFF2-40B4-BE49-F238E27FC236}">
                    <a16:creationId xmlns:a16="http://schemas.microsoft.com/office/drawing/2014/main" id="{F2AB7536-EB04-0582-607A-BFD6714715E4}"/>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5" name="Freeform 24">
                <a:extLst>
                  <a:ext uri="{FF2B5EF4-FFF2-40B4-BE49-F238E27FC236}">
                    <a16:creationId xmlns:a16="http://schemas.microsoft.com/office/drawing/2014/main" id="{1B9EBD4F-57D1-D650-7BB6-B1C8D30C25B8}"/>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6" name="Freeform 25">
                <a:extLst>
                  <a:ext uri="{FF2B5EF4-FFF2-40B4-BE49-F238E27FC236}">
                    <a16:creationId xmlns:a16="http://schemas.microsoft.com/office/drawing/2014/main" id="{541D7A9B-434B-D2F3-6CBF-74B17D81F5DA}"/>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7" name="Freeform 26">
                <a:extLst>
                  <a:ext uri="{FF2B5EF4-FFF2-40B4-BE49-F238E27FC236}">
                    <a16:creationId xmlns:a16="http://schemas.microsoft.com/office/drawing/2014/main" id="{85D29300-FFB1-651D-76E7-67DDFD5FC044}"/>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30" name="Group 29">
            <a:extLst>
              <a:ext uri="{FF2B5EF4-FFF2-40B4-BE49-F238E27FC236}">
                <a16:creationId xmlns:a16="http://schemas.microsoft.com/office/drawing/2014/main" id="{F0FE1B05-3855-8C18-61BC-529127DE17EE}"/>
              </a:ext>
            </a:extLst>
          </p:cNvPr>
          <p:cNvGrpSpPr/>
          <p:nvPr/>
        </p:nvGrpSpPr>
        <p:grpSpPr>
          <a:xfrm>
            <a:off x="4672100" y="5185589"/>
            <a:ext cx="912642" cy="1019345"/>
            <a:chOff x="8865150" y="2423597"/>
            <a:chExt cx="667915" cy="746005"/>
          </a:xfrm>
          <a:solidFill>
            <a:srgbClr val="595959"/>
          </a:solidFill>
        </p:grpSpPr>
        <p:sp>
          <p:nvSpPr>
            <p:cNvPr id="31" name="Freeform 30">
              <a:extLst>
                <a:ext uri="{FF2B5EF4-FFF2-40B4-BE49-F238E27FC236}">
                  <a16:creationId xmlns:a16="http://schemas.microsoft.com/office/drawing/2014/main" id="{500C7EA6-5BBA-F5E9-F861-EC3AE8C8E70B}"/>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32" name="Graphic 2">
              <a:extLst>
                <a:ext uri="{FF2B5EF4-FFF2-40B4-BE49-F238E27FC236}">
                  <a16:creationId xmlns:a16="http://schemas.microsoft.com/office/drawing/2014/main" id="{320D3D29-5770-477E-4400-519F3A218153}"/>
                </a:ext>
              </a:extLst>
            </p:cNvPr>
            <p:cNvGrpSpPr/>
            <p:nvPr/>
          </p:nvGrpSpPr>
          <p:grpSpPr>
            <a:xfrm>
              <a:off x="8865150" y="2423597"/>
              <a:ext cx="667915" cy="746005"/>
              <a:chOff x="8865150" y="2423597"/>
              <a:chExt cx="667915" cy="746005"/>
            </a:xfrm>
            <a:grpFill/>
          </p:grpSpPr>
          <p:sp>
            <p:nvSpPr>
              <p:cNvPr id="33" name="Freeform 32">
                <a:extLst>
                  <a:ext uri="{FF2B5EF4-FFF2-40B4-BE49-F238E27FC236}">
                    <a16:creationId xmlns:a16="http://schemas.microsoft.com/office/drawing/2014/main" id="{D3C55E7D-0164-29B8-793F-EE6CF7818888}"/>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8774BB34-A262-E68D-1208-02852D1F5C6D}"/>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93192830-D129-30D7-CFCC-2AE47FADDAA8}"/>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6" name="Freeform 35">
                <a:extLst>
                  <a:ext uri="{FF2B5EF4-FFF2-40B4-BE49-F238E27FC236}">
                    <a16:creationId xmlns:a16="http://schemas.microsoft.com/office/drawing/2014/main" id="{6754AE18-757C-21DD-3379-5C1530D791D4}"/>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7" name="Freeform 36">
                <a:extLst>
                  <a:ext uri="{FF2B5EF4-FFF2-40B4-BE49-F238E27FC236}">
                    <a16:creationId xmlns:a16="http://schemas.microsoft.com/office/drawing/2014/main" id="{DDBC5526-BBBE-1DDB-8DAD-B48FC3FCB22E}"/>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38" name="Group 37">
            <a:extLst>
              <a:ext uri="{FF2B5EF4-FFF2-40B4-BE49-F238E27FC236}">
                <a16:creationId xmlns:a16="http://schemas.microsoft.com/office/drawing/2014/main" id="{AEA50320-E088-0240-E185-0CDFC06A26C0}"/>
              </a:ext>
            </a:extLst>
          </p:cNvPr>
          <p:cNvGrpSpPr/>
          <p:nvPr/>
        </p:nvGrpSpPr>
        <p:grpSpPr>
          <a:xfrm>
            <a:off x="4648602" y="2266174"/>
            <a:ext cx="868457" cy="867509"/>
            <a:chOff x="7257599" y="768348"/>
            <a:chExt cx="868457" cy="867509"/>
          </a:xfrm>
          <a:solidFill>
            <a:srgbClr val="595959"/>
          </a:solidFill>
        </p:grpSpPr>
        <p:sp>
          <p:nvSpPr>
            <p:cNvPr id="39" name="Freeform 38">
              <a:extLst>
                <a:ext uri="{FF2B5EF4-FFF2-40B4-BE49-F238E27FC236}">
                  <a16:creationId xmlns:a16="http://schemas.microsoft.com/office/drawing/2014/main" id="{98647607-C24D-7C38-D63A-3227040F8F6C}"/>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0" name="Graphic 2">
              <a:extLst>
                <a:ext uri="{FF2B5EF4-FFF2-40B4-BE49-F238E27FC236}">
                  <a16:creationId xmlns:a16="http://schemas.microsoft.com/office/drawing/2014/main" id="{06150730-83FD-36C8-9D78-E18CAE8FD5CC}"/>
                </a:ext>
              </a:extLst>
            </p:cNvPr>
            <p:cNvGrpSpPr/>
            <p:nvPr/>
          </p:nvGrpSpPr>
          <p:grpSpPr>
            <a:xfrm>
              <a:off x="7257599" y="768348"/>
              <a:ext cx="868457" cy="867509"/>
              <a:chOff x="7257599" y="768348"/>
              <a:chExt cx="868457" cy="867509"/>
            </a:xfrm>
            <a:grpFill/>
          </p:grpSpPr>
          <p:sp>
            <p:nvSpPr>
              <p:cNvPr id="41" name="Freeform 40">
                <a:extLst>
                  <a:ext uri="{FF2B5EF4-FFF2-40B4-BE49-F238E27FC236}">
                    <a16:creationId xmlns:a16="http://schemas.microsoft.com/office/drawing/2014/main" id="{E2CE06F2-A8EC-D4E2-A6E3-05130D84289A}"/>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2" name="Freeform 41">
                <a:extLst>
                  <a:ext uri="{FF2B5EF4-FFF2-40B4-BE49-F238E27FC236}">
                    <a16:creationId xmlns:a16="http://schemas.microsoft.com/office/drawing/2014/main" id="{63CB47A0-1310-73F4-1D7D-C19DF5039122}"/>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5766C682-DE1F-0500-821D-F7D8BAACE270}"/>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0962DDA-3162-0B55-0B59-B9A2CF780F43}"/>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7F36AA8A-A10F-9E0C-E5E9-ADF5936E37A5}"/>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46" name="Straight Connector 45">
            <a:extLst>
              <a:ext uri="{FF2B5EF4-FFF2-40B4-BE49-F238E27FC236}">
                <a16:creationId xmlns:a16="http://schemas.microsoft.com/office/drawing/2014/main" id="{16C92E9C-EE6C-8FBA-DC1E-094C9CD5A274}"/>
              </a:ext>
            </a:extLst>
          </p:cNvPr>
          <p:cNvCxnSpPr>
            <a:cxnSpLocks/>
          </p:cNvCxnSpPr>
          <p:nvPr/>
        </p:nvCxnSpPr>
        <p:spPr>
          <a:xfrm>
            <a:off x="4201097" y="1928661"/>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96EBBC0-F6AA-755D-0C02-D21D3B310FF0}"/>
              </a:ext>
            </a:extLst>
          </p:cNvPr>
          <p:cNvCxnSpPr>
            <a:cxnSpLocks/>
          </p:cNvCxnSpPr>
          <p:nvPr/>
        </p:nvCxnSpPr>
        <p:spPr>
          <a:xfrm>
            <a:off x="4201098" y="3414010"/>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A610D0E-3C4A-9323-BCDD-CF05F64DEE1C}"/>
              </a:ext>
            </a:extLst>
          </p:cNvPr>
          <p:cNvCxnSpPr>
            <a:cxnSpLocks/>
          </p:cNvCxnSpPr>
          <p:nvPr/>
        </p:nvCxnSpPr>
        <p:spPr>
          <a:xfrm>
            <a:off x="4201098" y="4990674"/>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7787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530904"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193800" algn="l"/>
              </a:tabLst>
            </a:pPr>
            <a:r>
              <a:rPr lang="en-US" sz="4000" dirty="0">
                <a:solidFill>
                  <a:schemeClr val="bg1"/>
                </a:solidFill>
              </a:rPr>
              <a:t>01 </a:t>
            </a:r>
            <a:r>
              <a:rPr lang="el-GR" sz="4000" dirty="0">
                <a:solidFill>
                  <a:schemeClr val="bg1"/>
                </a:solidFill>
              </a:rPr>
              <a:t>   	</a:t>
            </a:r>
            <a:r>
              <a:rPr lang="en-IE" dirty="0" err="1">
                <a:solidFill>
                  <a:schemeClr val="bg1"/>
                </a:solidFill>
              </a:rPr>
              <a:t>Θέμ</a:t>
            </a:r>
            <a:r>
              <a:rPr lang="en-IE" dirty="0">
                <a:solidFill>
                  <a:schemeClr val="bg1"/>
                </a:solidFill>
              </a:rPr>
              <a:t>ατα του κλάδου - Πηγές για τον εντοπισμό των </a:t>
            </a:r>
            <a:r>
              <a:rPr lang="el-GR" dirty="0">
                <a:solidFill>
                  <a:schemeClr val="bg1"/>
                </a:solidFill>
              </a:rPr>
              <a:t>         	</a:t>
            </a:r>
            <a:r>
              <a:rPr lang="en-IE" dirty="0" err="1">
                <a:solidFill>
                  <a:schemeClr val="bg1"/>
                </a:solidFill>
              </a:rPr>
              <a:t>τάσεων</a:t>
            </a:r>
            <a:r>
              <a:rPr lang="en-IE" dirty="0">
                <a:solidFill>
                  <a:schemeClr val="bg1"/>
                </a:solidFill>
              </a:rPr>
              <a:t> του κλάδου</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06814" y="1938533"/>
            <a:ext cx="3122771" cy="4235476"/>
          </a:xfrm>
        </p:spPr>
        <p:txBody>
          <a:bodyPr>
            <a:normAutofit fontScale="92500" lnSpcReduction="10000"/>
          </a:bodyPr>
          <a:lstStyle/>
          <a:p>
            <a:pPr marL="12700" indent="-12700">
              <a:lnSpc>
                <a:spcPct val="100000"/>
              </a:lnSpc>
            </a:pPr>
            <a:r>
              <a:rPr lang="en-GB" sz="2000" dirty="0">
                <a:latin typeface="Calibri" panose="020F0502020204030204" pitchFamily="34" charset="0"/>
                <a:ea typeface="Lato Light" panose="020F0502020204030203" pitchFamily="34" charset="0"/>
                <a:cs typeface="Calibri" panose="020F0502020204030204" pitchFamily="34" charset="0"/>
              </a:rPr>
              <a:t>Πληροφορίες του κλάδου σχετικά με τις τάσεις που επηρεάζουν τον κλάδο μπορούν να βρεθούν σε ειδικές δημοσιεύσεις του κλάδου και σε διαδικτυακές πηγές. Είναι σημαντικό να ανιχνεύετε και να επεξεργάζεστε συνεχώς σημαντικές πληροφορίες του κλάδου, να τις μοιράζεστε με τους αρμόδιους ανθρώπους στην εταιρεία (και τους συμβούλους) και να τις συζητάτε συστηματικά. </a:t>
            </a:r>
          </a:p>
          <a:p>
            <a:pPr marL="12700" indent="-12700" algn="just"/>
            <a:endParaRPr lang="en-GB" dirty="0">
              <a:latin typeface="Calibri" panose="020F0502020204030204" pitchFamily="34" charset="0"/>
              <a:ea typeface="Lato Light" panose="020F0502020204030203" pitchFamily="34" charset="0"/>
              <a:cs typeface="Calibri" panose="020F0502020204030204" pitchFamily="34" charset="0"/>
            </a:endParaRPr>
          </a:p>
        </p:txBody>
      </p:sp>
      <p:grpSp>
        <p:nvGrpSpPr>
          <p:cNvPr id="28" name="Graphic 2">
            <a:extLst>
              <a:ext uri="{FF2B5EF4-FFF2-40B4-BE49-F238E27FC236}">
                <a16:creationId xmlns:a16="http://schemas.microsoft.com/office/drawing/2014/main" id="{7B0153CD-FCC9-50CB-E1C5-6CB7E1998D8A}"/>
              </a:ext>
            </a:extLst>
          </p:cNvPr>
          <p:cNvGrpSpPr/>
          <p:nvPr/>
        </p:nvGrpSpPr>
        <p:grpSpPr>
          <a:xfrm>
            <a:off x="581647" y="1769777"/>
            <a:ext cx="911305" cy="970368"/>
            <a:chOff x="3918554" y="774528"/>
            <a:chExt cx="868197" cy="924466"/>
          </a:xfrm>
          <a:solidFill>
            <a:srgbClr val="595959"/>
          </a:solidFill>
        </p:grpSpPr>
        <p:grpSp>
          <p:nvGrpSpPr>
            <p:cNvPr id="29" name="Graphic 2">
              <a:extLst>
                <a:ext uri="{FF2B5EF4-FFF2-40B4-BE49-F238E27FC236}">
                  <a16:creationId xmlns:a16="http://schemas.microsoft.com/office/drawing/2014/main" id="{0F9D2982-59E1-D03F-BF77-BACAC6FC968F}"/>
                </a:ext>
              </a:extLst>
            </p:cNvPr>
            <p:cNvGrpSpPr/>
            <p:nvPr/>
          </p:nvGrpSpPr>
          <p:grpSpPr>
            <a:xfrm>
              <a:off x="3918554" y="774528"/>
              <a:ext cx="868197" cy="924466"/>
              <a:chOff x="3918554" y="774528"/>
              <a:chExt cx="868197" cy="924466"/>
            </a:xfrm>
            <a:grpFill/>
          </p:grpSpPr>
          <p:sp>
            <p:nvSpPr>
              <p:cNvPr id="33" name="Freeform 32">
                <a:extLst>
                  <a:ext uri="{FF2B5EF4-FFF2-40B4-BE49-F238E27FC236}">
                    <a16:creationId xmlns:a16="http://schemas.microsoft.com/office/drawing/2014/main" id="{8A019923-9056-42CE-6793-2A0AD642EB38}"/>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4B53E064-BFFD-3A04-7F6B-DD49369B7914}"/>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30" name="Graphic 2">
              <a:extLst>
                <a:ext uri="{FF2B5EF4-FFF2-40B4-BE49-F238E27FC236}">
                  <a16:creationId xmlns:a16="http://schemas.microsoft.com/office/drawing/2014/main" id="{8FBA9B87-8920-A2EB-0899-9F08EA2DF207}"/>
                </a:ext>
              </a:extLst>
            </p:cNvPr>
            <p:cNvGrpSpPr/>
            <p:nvPr/>
          </p:nvGrpSpPr>
          <p:grpSpPr>
            <a:xfrm>
              <a:off x="3958353" y="890522"/>
              <a:ext cx="708520" cy="605461"/>
              <a:chOff x="3958353" y="890522"/>
              <a:chExt cx="708520" cy="605461"/>
            </a:xfrm>
            <a:grpFill/>
          </p:grpSpPr>
          <p:sp>
            <p:nvSpPr>
              <p:cNvPr id="31" name="Freeform 30">
                <a:extLst>
                  <a:ext uri="{FF2B5EF4-FFF2-40B4-BE49-F238E27FC236}">
                    <a16:creationId xmlns:a16="http://schemas.microsoft.com/office/drawing/2014/main" id="{FF71527C-3D3B-45BB-42C6-1D8E50A49C3B}"/>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A80934B7-3D76-F50F-55EE-00DEF1DF599B}"/>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35" name="Rectangle 174">
            <a:extLst>
              <a:ext uri="{FF2B5EF4-FFF2-40B4-BE49-F238E27FC236}">
                <a16:creationId xmlns:a16="http://schemas.microsoft.com/office/drawing/2014/main" id="{FA860F30-B488-5905-C680-5462A9476653}"/>
              </a:ext>
            </a:extLst>
          </p:cNvPr>
          <p:cNvSpPr>
            <a:spLocks noChangeArrowheads="1"/>
          </p:cNvSpPr>
          <p:nvPr/>
        </p:nvSpPr>
        <p:spPr bwMode="auto">
          <a:xfrm>
            <a:off x="5371751" y="3095966"/>
            <a:ext cx="4043832" cy="540346"/>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6" name="Rectangle 178">
            <a:extLst>
              <a:ext uri="{FF2B5EF4-FFF2-40B4-BE49-F238E27FC236}">
                <a16:creationId xmlns:a16="http://schemas.microsoft.com/office/drawing/2014/main" id="{B0907C90-701B-534E-A034-01199D699794}"/>
              </a:ext>
            </a:extLst>
          </p:cNvPr>
          <p:cNvSpPr>
            <a:spLocks noChangeArrowheads="1"/>
          </p:cNvSpPr>
          <p:nvPr/>
        </p:nvSpPr>
        <p:spPr bwMode="auto">
          <a:xfrm>
            <a:off x="5371749" y="4717004"/>
            <a:ext cx="3954653" cy="540828"/>
          </a:xfrm>
          <a:prstGeom prst="rect">
            <a:avLst/>
          </a:pr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7" name="Freeform 182">
            <a:extLst>
              <a:ext uri="{FF2B5EF4-FFF2-40B4-BE49-F238E27FC236}">
                <a16:creationId xmlns:a16="http://schemas.microsoft.com/office/drawing/2014/main" id="{2B3AF8B8-8390-F85E-DC11-09FCFB3B46E7}"/>
              </a:ext>
            </a:extLst>
          </p:cNvPr>
          <p:cNvSpPr>
            <a:spLocks/>
          </p:cNvSpPr>
          <p:nvPr/>
        </p:nvSpPr>
        <p:spPr bwMode="auto">
          <a:xfrm>
            <a:off x="8859707" y="4520821"/>
            <a:ext cx="887087" cy="934157"/>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8" name="Rectangle 188">
            <a:extLst>
              <a:ext uri="{FF2B5EF4-FFF2-40B4-BE49-F238E27FC236}">
                <a16:creationId xmlns:a16="http://schemas.microsoft.com/office/drawing/2014/main" id="{84414922-FD22-B707-22B4-4EC1200E47A8}"/>
              </a:ext>
            </a:extLst>
          </p:cNvPr>
          <p:cNvSpPr>
            <a:spLocks noChangeArrowheads="1"/>
          </p:cNvSpPr>
          <p:nvPr/>
        </p:nvSpPr>
        <p:spPr bwMode="auto">
          <a:xfrm>
            <a:off x="5371752" y="2555138"/>
            <a:ext cx="3270194" cy="540828"/>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9" name="Freeform 191">
            <a:extLst>
              <a:ext uri="{FF2B5EF4-FFF2-40B4-BE49-F238E27FC236}">
                <a16:creationId xmlns:a16="http://schemas.microsoft.com/office/drawing/2014/main" id="{D315182C-F944-9059-9482-A1410BDC9760}"/>
              </a:ext>
            </a:extLst>
          </p:cNvPr>
          <p:cNvSpPr>
            <a:spLocks/>
          </p:cNvSpPr>
          <p:nvPr/>
        </p:nvSpPr>
        <p:spPr bwMode="auto">
          <a:xfrm>
            <a:off x="8166999" y="2358474"/>
            <a:ext cx="887087" cy="934157"/>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0" name="Rectangle 194">
            <a:extLst>
              <a:ext uri="{FF2B5EF4-FFF2-40B4-BE49-F238E27FC236}">
                <a16:creationId xmlns:a16="http://schemas.microsoft.com/office/drawing/2014/main" id="{419F0F11-6F31-937C-0915-2B9D9C78F0B2}"/>
              </a:ext>
            </a:extLst>
          </p:cNvPr>
          <p:cNvSpPr>
            <a:spLocks noChangeArrowheads="1"/>
          </p:cNvSpPr>
          <p:nvPr/>
        </p:nvSpPr>
        <p:spPr bwMode="auto">
          <a:xfrm>
            <a:off x="5371749" y="3635830"/>
            <a:ext cx="3487957" cy="540828"/>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1" name="Freeform 198">
            <a:extLst>
              <a:ext uri="{FF2B5EF4-FFF2-40B4-BE49-F238E27FC236}">
                <a16:creationId xmlns:a16="http://schemas.microsoft.com/office/drawing/2014/main" id="{B6B67C67-8693-0988-5CB6-8E5630BA125E}"/>
              </a:ext>
            </a:extLst>
          </p:cNvPr>
          <p:cNvSpPr>
            <a:spLocks/>
          </p:cNvSpPr>
          <p:nvPr/>
        </p:nvSpPr>
        <p:spPr bwMode="auto">
          <a:xfrm>
            <a:off x="8364130" y="3439647"/>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2" name="Rectangle 200">
            <a:extLst>
              <a:ext uri="{FF2B5EF4-FFF2-40B4-BE49-F238E27FC236}">
                <a16:creationId xmlns:a16="http://schemas.microsoft.com/office/drawing/2014/main" id="{F828A1BE-4209-66F5-760E-926FAADE7BF9}"/>
              </a:ext>
            </a:extLst>
          </p:cNvPr>
          <p:cNvSpPr>
            <a:spLocks noChangeArrowheads="1"/>
          </p:cNvSpPr>
          <p:nvPr/>
        </p:nvSpPr>
        <p:spPr bwMode="auto">
          <a:xfrm>
            <a:off x="5371749" y="4176657"/>
            <a:ext cx="2850667" cy="540346"/>
          </a:xfrm>
          <a:prstGeom prst="rect">
            <a:avLst/>
          </a:pr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3" name="Freeform 204">
            <a:extLst>
              <a:ext uri="{FF2B5EF4-FFF2-40B4-BE49-F238E27FC236}">
                <a16:creationId xmlns:a16="http://schemas.microsoft.com/office/drawing/2014/main" id="{0BA95A38-DB15-DDF5-C705-77F362118B35}"/>
              </a:ext>
            </a:extLst>
          </p:cNvPr>
          <p:cNvSpPr>
            <a:spLocks/>
          </p:cNvSpPr>
          <p:nvPr/>
        </p:nvSpPr>
        <p:spPr bwMode="auto">
          <a:xfrm>
            <a:off x="7615493" y="3980475"/>
            <a:ext cx="887087" cy="933675"/>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4" name="Rectangle 206">
            <a:extLst>
              <a:ext uri="{FF2B5EF4-FFF2-40B4-BE49-F238E27FC236}">
                <a16:creationId xmlns:a16="http://schemas.microsoft.com/office/drawing/2014/main" id="{E28EA32A-83CE-AFB4-F080-9920D2D870BC}"/>
              </a:ext>
            </a:extLst>
          </p:cNvPr>
          <p:cNvSpPr>
            <a:spLocks noChangeArrowheads="1"/>
          </p:cNvSpPr>
          <p:nvPr/>
        </p:nvSpPr>
        <p:spPr bwMode="auto">
          <a:xfrm>
            <a:off x="5371751" y="2014793"/>
            <a:ext cx="2458514" cy="540346"/>
          </a:xfrm>
          <a:prstGeom prst="rect">
            <a:avLst/>
          </a:pr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5" name="Freeform 210">
            <a:extLst>
              <a:ext uri="{FF2B5EF4-FFF2-40B4-BE49-F238E27FC236}">
                <a16:creationId xmlns:a16="http://schemas.microsoft.com/office/drawing/2014/main" id="{11411ACD-13E2-C23F-F67E-5AAC49F129B4}"/>
              </a:ext>
            </a:extLst>
          </p:cNvPr>
          <p:cNvSpPr>
            <a:spLocks/>
          </p:cNvSpPr>
          <p:nvPr/>
        </p:nvSpPr>
        <p:spPr bwMode="auto">
          <a:xfrm>
            <a:off x="7359223" y="1818128"/>
            <a:ext cx="886629" cy="933675"/>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6" name="Rectangle 214">
            <a:extLst>
              <a:ext uri="{FF2B5EF4-FFF2-40B4-BE49-F238E27FC236}">
                <a16:creationId xmlns:a16="http://schemas.microsoft.com/office/drawing/2014/main" id="{88FC22C4-0238-DB08-3E8F-4E9F0689B35D}"/>
              </a:ext>
            </a:extLst>
          </p:cNvPr>
          <p:cNvSpPr>
            <a:spLocks noChangeArrowheads="1"/>
          </p:cNvSpPr>
          <p:nvPr/>
        </p:nvSpPr>
        <p:spPr bwMode="auto">
          <a:xfrm>
            <a:off x="5371751" y="5257831"/>
            <a:ext cx="2458514" cy="540346"/>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7" name="Freeform 217">
            <a:extLst>
              <a:ext uri="{FF2B5EF4-FFF2-40B4-BE49-F238E27FC236}">
                <a16:creationId xmlns:a16="http://schemas.microsoft.com/office/drawing/2014/main" id="{BCFD2F68-1D3F-6F74-C71C-A417388B344F}"/>
              </a:ext>
            </a:extLst>
          </p:cNvPr>
          <p:cNvSpPr>
            <a:spLocks/>
          </p:cNvSpPr>
          <p:nvPr/>
        </p:nvSpPr>
        <p:spPr bwMode="auto">
          <a:xfrm>
            <a:off x="7358765" y="5061167"/>
            <a:ext cx="887087" cy="933675"/>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8" name="Freeform 198">
            <a:extLst>
              <a:ext uri="{FF2B5EF4-FFF2-40B4-BE49-F238E27FC236}">
                <a16:creationId xmlns:a16="http://schemas.microsoft.com/office/drawing/2014/main" id="{FFC5796E-6AF9-F5A9-7513-EEEA1891C32F}"/>
              </a:ext>
            </a:extLst>
          </p:cNvPr>
          <p:cNvSpPr>
            <a:spLocks/>
          </p:cNvSpPr>
          <p:nvPr/>
        </p:nvSpPr>
        <p:spPr bwMode="auto">
          <a:xfrm>
            <a:off x="9032044" y="2906708"/>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9" name="TextBox 79">
            <a:extLst>
              <a:ext uri="{FF2B5EF4-FFF2-40B4-BE49-F238E27FC236}">
                <a16:creationId xmlns:a16="http://schemas.microsoft.com/office/drawing/2014/main" id="{71DDDCDB-F776-5BB5-8DFE-F149974BD8DF}"/>
              </a:ext>
            </a:extLst>
          </p:cNvPr>
          <p:cNvSpPr txBox="1"/>
          <p:nvPr/>
        </p:nvSpPr>
        <p:spPr>
          <a:xfrm>
            <a:off x="5532734" y="5316403"/>
            <a:ext cx="878767"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Online</a:t>
            </a:r>
          </a:p>
        </p:txBody>
      </p:sp>
      <p:sp>
        <p:nvSpPr>
          <p:cNvPr id="50" name="TextBox 80">
            <a:extLst>
              <a:ext uri="{FF2B5EF4-FFF2-40B4-BE49-F238E27FC236}">
                <a16:creationId xmlns:a16="http://schemas.microsoft.com/office/drawing/2014/main" id="{A3A5FE10-7B72-D631-C99E-78A44B400421}"/>
              </a:ext>
            </a:extLst>
          </p:cNvPr>
          <p:cNvSpPr txBox="1"/>
          <p:nvPr/>
        </p:nvSpPr>
        <p:spPr>
          <a:xfrm>
            <a:off x="5532734" y="4754002"/>
            <a:ext cx="1917513"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Επιστημονικά περιοδικά</a:t>
            </a:r>
          </a:p>
        </p:txBody>
      </p:sp>
      <p:sp>
        <p:nvSpPr>
          <p:cNvPr id="51" name="TextBox 81">
            <a:extLst>
              <a:ext uri="{FF2B5EF4-FFF2-40B4-BE49-F238E27FC236}">
                <a16:creationId xmlns:a16="http://schemas.microsoft.com/office/drawing/2014/main" id="{263EBE4D-6538-AEAB-ED46-7154A997964F}"/>
              </a:ext>
            </a:extLst>
          </p:cNvPr>
          <p:cNvSpPr txBox="1"/>
          <p:nvPr/>
        </p:nvSpPr>
        <p:spPr>
          <a:xfrm>
            <a:off x="5532734" y="4229875"/>
            <a:ext cx="3010761" cy="369332"/>
          </a:xfrm>
          <a:prstGeom prst="rect">
            <a:avLst/>
          </a:prstGeom>
          <a:noFill/>
        </p:spPr>
        <p:txBody>
          <a:bodyPr wrap="none" rtlCol="0">
            <a:spAutoFit/>
          </a:bodyPr>
          <a:lstStyle/>
          <a:p>
            <a:r>
              <a:rPr lang="en-GB" b="1" dirty="0">
                <a:solidFill>
                  <a:schemeClr val="bg1"/>
                </a:solidFill>
                <a:latin typeface="+mj-lt"/>
                <a:ea typeface="Roboto" charset="0"/>
                <a:cs typeface="Roboto" charset="0"/>
              </a:rPr>
              <a:t>Δημοσκοπήσεις κοινής γνώμης</a:t>
            </a:r>
          </a:p>
        </p:txBody>
      </p:sp>
      <p:sp>
        <p:nvSpPr>
          <p:cNvPr id="52" name="TextBox 82">
            <a:extLst>
              <a:ext uri="{FF2B5EF4-FFF2-40B4-BE49-F238E27FC236}">
                <a16:creationId xmlns:a16="http://schemas.microsoft.com/office/drawing/2014/main" id="{A83FD9C9-8C25-BDA2-A9B0-661876DDD9F9}"/>
              </a:ext>
            </a:extLst>
          </p:cNvPr>
          <p:cNvSpPr txBox="1"/>
          <p:nvPr/>
        </p:nvSpPr>
        <p:spPr>
          <a:xfrm>
            <a:off x="5532734" y="3674221"/>
            <a:ext cx="1706301"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Εμπορικά περιοδικά</a:t>
            </a:r>
          </a:p>
        </p:txBody>
      </p:sp>
      <p:sp>
        <p:nvSpPr>
          <p:cNvPr id="53" name="TextBox 83">
            <a:extLst>
              <a:ext uri="{FF2B5EF4-FFF2-40B4-BE49-F238E27FC236}">
                <a16:creationId xmlns:a16="http://schemas.microsoft.com/office/drawing/2014/main" id="{077A4EAB-1DA8-1D35-3A4C-6F814C56679E}"/>
              </a:ext>
            </a:extLst>
          </p:cNvPr>
          <p:cNvSpPr txBox="1"/>
          <p:nvPr/>
        </p:nvSpPr>
        <p:spPr>
          <a:xfrm>
            <a:off x="5532734" y="3150094"/>
            <a:ext cx="1099212"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Τηλεοπτικές ειδήσεις</a:t>
            </a:r>
          </a:p>
        </p:txBody>
      </p:sp>
      <p:sp>
        <p:nvSpPr>
          <p:cNvPr id="54" name="TextBox 84">
            <a:extLst>
              <a:ext uri="{FF2B5EF4-FFF2-40B4-BE49-F238E27FC236}">
                <a16:creationId xmlns:a16="http://schemas.microsoft.com/office/drawing/2014/main" id="{CFB6ACCB-9679-5B86-7550-52BF6223182E}"/>
              </a:ext>
            </a:extLst>
          </p:cNvPr>
          <p:cNvSpPr txBox="1"/>
          <p:nvPr/>
        </p:nvSpPr>
        <p:spPr>
          <a:xfrm>
            <a:off x="5532734" y="2587693"/>
            <a:ext cx="2279342"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Επιχειρηματικά περιοδικά</a:t>
            </a:r>
          </a:p>
        </p:txBody>
      </p:sp>
      <p:sp>
        <p:nvSpPr>
          <p:cNvPr id="55" name="TextBox 85">
            <a:extLst>
              <a:ext uri="{FF2B5EF4-FFF2-40B4-BE49-F238E27FC236}">
                <a16:creationId xmlns:a16="http://schemas.microsoft.com/office/drawing/2014/main" id="{091FDAB6-04C9-83CC-1299-857386C66E0A}"/>
              </a:ext>
            </a:extLst>
          </p:cNvPr>
          <p:cNvSpPr txBox="1"/>
          <p:nvPr/>
        </p:nvSpPr>
        <p:spPr>
          <a:xfrm>
            <a:off x="5532734" y="2063566"/>
            <a:ext cx="1485087"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Εφημερίδες</a:t>
            </a:r>
          </a:p>
        </p:txBody>
      </p:sp>
      <p:sp>
        <p:nvSpPr>
          <p:cNvPr id="56" name="TextBox 91">
            <a:extLst>
              <a:ext uri="{FF2B5EF4-FFF2-40B4-BE49-F238E27FC236}">
                <a16:creationId xmlns:a16="http://schemas.microsoft.com/office/drawing/2014/main" id="{E9524268-F747-E5B1-CD76-B1F1C6D46891}"/>
              </a:ext>
            </a:extLst>
          </p:cNvPr>
          <p:cNvSpPr txBox="1"/>
          <p:nvPr/>
        </p:nvSpPr>
        <p:spPr>
          <a:xfrm>
            <a:off x="9991338" y="1825946"/>
            <a:ext cx="2032586" cy="2308324"/>
          </a:xfrm>
          <a:prstGeom prst="rect">
            <a:avLst/>
          </a:prstGeom>
          <a:solidFill>
            <a:srgbClr val="7F1C58"/>
          </a:solidFill>
        </p:spPr>
        <p:txBody>
          <a:bodyPr wrap="square" rtlCol="0">
            <a:spAutoFit/>
          </a:bodyPr>
          <a:lstStyle/>
          <a:p>
            <a:pPr algn="ctr"/>
            <a:r>
              <a:rPr lang="en-GB" dirty="0">
                <a:solidFill>
                  <a:schemeClr val="bg1"/>
                </a:solidFill>
                <a:ea typeface="Lato Light" charset="0"/>
                <a:cs typeface="Lato Light" charset="0"/>
              </a:rPr>
              <a:t>Αποθηκεύστε σημαντικά στοιχεία, μοιραστείτε τα με την ομάδα σας και συζητήστε τις επιπτώσεις για την επιχείρησή σας.</a:t>
            </a:r>
          </a:p>
        </p:txBody>
      </p:sp>
      <p:sp>
        <p:nvSpPr>
          <p:cNvPr id="57" name="TextBox 56">
            <a:extLst>
              <a:ext uri="{FF2B5EF4-FFF2-40B4-BE49-F238E27FC236}">
                <a16:creationId xmlns:a16="http://schemas.microsoft.com/office/drawing/2014/main" id="{2E671CFE-4385-D5BF-5980-2F48A68D4C9B}"/>
              </a:ext>
            </a:extLst>
          </p:cNvPr>
          <p:cNvSpPr txBox="1"/>
          <p:nvPr/>
        </p:nvSpPr>
        <p:spPr>
          <a:xfrm>
            <a:off x="9964125" y="4227216"/>
            <a:ext cx="2106062" cy="2062103"/>
          </a:xfrm>
          <a:prstGeom prst="rect">
            <a:avLst/>
          </a:prstGeom>
          <a:noFill/>
        </p:spPr>
        <p:txBody>
          <a:bodyPr wrap="square" rtlCol="0">
            <a:spAutoFit/>
          </a:bodyPr>
          <a:lstStyle/>
          <a:p>
            <a:r>
              <a:rPr lang="en-GB" sz="1600" dirty="0">
                <a:solidFill>
                  <a:srgbClr val="595959"/>
                </a:solidFill>
              </a:rPr>
              <a:t>Αργότερα σε αυτό το μάθημα, θα μάθετε για τη δύναμη της κοινωνικής ακρόασης στο πλαίσιο της έγκαιρης προειδοποίησης κινδύνου.</a:t>
            </a:r>
            <a:endParaRPr lang="en-IE" sz="1600" dirty="0">
              <a:solidFill>
                <a:srgbClr val="595959"/>
              </a:solidFill>
            </a:endParaRPr>
          </a:p>
        </p:txBody>
      </p:sp>
    </p:spTree>
    <p:extLst>
      <p:ext uri="{BB962C8B-B14F-4D97-AF65-F5344CB8AC3E}">
        <p14:creationId xmlns:p14="http://schemas.microsoft.com/office/powerpoint/2010/main" val="21686744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530904"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193800" algn="l"/>
              </a:tabLst>
            </a:pPr>
            <a:r>
              <a:rPr lang="en-US" sz="4000" dirty="0">
                <a:solidFill>
                  <a:schemeClr val="bg1"/>
                </a:solidFill>
              </a:rPr>
              <a:t>01 </a:t>
            </a:r>
            <a:r>
              <a:rPr lang="el-GR" sz="4000" dirty="0">
                <a:solidFill>
                  <a:schemeClr val="bg1"/>
                </a:solidFill>
              </a:rPr>
              <a:t>   	</a:t>
            </a:r>
            <a:r>
              <a:rPr lang="en-IE" dirty="0" err="1">
                <a:solidFill>
                  <a:schemeClr val="bg1"/>
                </a:solidFill>
              </a:rPr>
              <a:t>Θέμ</a:t>
            </a:r>
            <a:r>
              <a:rPr lang="en-IE" dirty="0">
                <a:solidFill>
                  <a:schemeClr val="bg1"/>
                </a:solidFill>
              </a:rPr>
              <a:t>ατα του κλάδου - Πηγές για τον εντοπισμό των </a:t>
            </a:r>
            <a:r>
              <a:rPr lang="el-GR" dirty="0">
                <a:solidFill>
                  <a:schemeClr val="bg1"/>
                </a:solidFill>
              </a:rPr>
              <a:t>	</a:t>
            </a:r>
            <a:r>
              <a:rPr lang="en-IE" dirty="0" err="1">
                <a:solidFill>
                  <a:schemeClr val="bg1"/>
                </a:solidFill>
              </a:rPr>
              <a:t>τάσεων</a:t>
            </a:r>
            <a:r>
              <a:rPr lang="en-IE" dirty="0">
                <a:solidFill>
                  <a:schemeClr val="bg1"/>
                </a:solidFill>
              </a:rPr>
              <a:t> του κλάδου</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94296" y="1687072"/>
            <a:ext cx="9803539" cy="4235476"/>
          </a:xfrm>
        </p:spPr>
        <p:txBody>
          <a:bodyPr>
            <a:normAutofit/>
          </a:bodyPr>
          <a:lstStyle/>
          <a:p>
            <a:pPr marL="12700" indent="-12700">
              <a:lnSpc>
                <a:spcPct val="100000"/>
              </a:lnSpc>
            </a:pPr>
            <a:r>
              <a:rPr lang="en-GB" sz="1800" b="1" dirty="0">
                <a:latin typeface="Calibri" panose="020F0502020204030204" pitchFamily="34" charset="0"/>
                <a:ea typeface="Lato Light" panose="020F0502020204030203" pitchFamily="34" charset="0"/>
                <a:cs typeface="Calibri" panose="020F0502020204030204" pitchFamily="34" charset="0"/>
              </a:rPr>
              <a:t>Γνωρίζατε ότι μπορείτε να δημιουργήσετε ένα Google Alerts;</a:t>
            </a:r>
          </a:p>
          <a:p>
            <a:pPr marL="12700" indent="-12700">
              <a:lnSpc>
                <a:spcPct val="100000"/>
              </a:lnSpc>
            </a:pPr>
            <a:r>
              <a:rPr lang="en-GB" sz="1800" dirty="0">
                <a:latin typeface="Calibri" panose="020F0502020204030204" pitchFamily="34" charset="0"/>
                <a:ea typeface="Lato Light" panose="020F0502020204030203" pitchFamily="34" charset="0"/>
                <a:cs typeface="Calibri" panose="020F0502020204030204" pitchFamily="34" charset="0"/>
              </a:rPr>
              <a:t>Πρόκειται για μια δωρεάν υπηρεσία ανίχνευσης και ειδοποίησης αλλαγής περιεχομένου, που προσφέρεται από την Google. Η υπηρεσία στέλνει μηνύματα ηλεκτρονικού ταχυδρομείου στον χρήστη όταν βρίσκει νέα αποτελέσματα -όπως ιστοσελίδες, άρθρα εφημερίδων, ιστολόγια ή επιστημονικές έρευνες- που ταιριάζουν με τον όρο αναζήτησης π.χ. </a:t>
            </a:r>
            <a:r>
              <a:rPr lang="en-GB" sz="1800" b="1" dirty="0">
                <a:solidFill>
                  <a:srgbClr val="F16924"/>
                </a:solidFill>
                <a:latin typeface="Calibri" panose="020F0502020204030204" pitchFamily="34" charset="0"/>
                <a:ea typeface="Lato Light" panose="020F0502020204030203" pitchFamily="34" charset="0"/>
                <a:cs typeface="Calibri" panose="020F0502020204030204" pitchFamily="34" charset="0"/>
              </a:rPr>
              <a:t>&lt;εισάγετε τον τομέα σας&gt; τάσεις της βιομηχανίας</a:t>
            </a:r>
            <a:r>
              <a:rPr lang="en-GB" sz="1800" dirty="0">
                <a:latin typeface="Calibri" panose="020F0502020204030204" pitchFamily="34" charset="0"/>
                <a:ea typeface="Lato Light" panose="020F0502020204030203" pitchFamily="34" charset="0"/>
                <a:cs typeface="Calibri" panose="020F0502020204030204" pitchFamily="34" charset="0"/>
              </a:rPr>
              <a:t>. Η Google θα σαρώνει το διαδίκτυο και θα σας στέλνει ένα ημερήσιο ή εβδομαδιαίο μήνυμα ηλεκτρονικού ταχυδρομείου. </a:t>
            </a:r>
          </a:p>
          <a:p>
            <a:pPr marL="12700" indent="-12700">
              <a:lnSpc>
                <a:spcPct val="100000"/>
              </a:lnSpc>
            </a:pPr>
            <a:r>
              <a:rPr lang="en-GB" sz="1800" b="1" dirty="0">
                <a:latin typeface="Calibri" panose="020F0502020204030204" pitchFamily="34" charset="0"/>
                <a:ea typeface="Lato Light" panose="020F0502020204030203" pitchFamily="34" charset="0"/>
                <a:cs typeface="Calibri" panose="020F0502020204030204" pitchFamily="34" charset="0"/>
              </a:rPr>
              <a:t>Είναι πολύ εύκολο να ρυθμιστεί  </a:t>
            </a:r>
          </a:p>
          <a:p>
            <a:pPr marL="12700" indent="-12700">
              <a:lnSpc>
                <a:spcPct val="100000"/>
              </a:lnSpc>
            </a:pPr>
            <a:r>
              <a:rPr lang="en-GB" sz="1800" dirty="0">
                <a:latin typeface="Calibri" panose="020F0502020204030204" pitchFamily="34" charset="0"/>
                <a:ea typeface="Lato Light" panose="020F0502020204030203" pitchFamily="34" charset="0"/>
                <a:cs typeface="Calibri" panose="020F0502020204030204" pitchFamily="34" charset="0"/>
              </a:rPr>
              <a:t>- δείτε αυτό το βίντεο κάνοντας κλικ στο play</a:t>
            </a:r>
          </a:p>
        </p:txBody>
      </p:sp>
      <p:grpSp>
        <p:nvGrpSpPr>
          <p:cNvPr id="28" name="Graphic 2">
            <a:extLst>
              <a:ext uri="{FF2B5EF4-FFF2-40B4-BE49-F238E27FC236}">
                <a16:creationId xmlns:a16="http://schemas.microsoft.com/office/drawing/2014/main" id="{7B0153CD-FCC9-50CB-E1C5-6CB7E1998D8A}"/>
              </a:ext>
            </a:extLst>
          </p:cNvPr>
          <p:cNvGrpSpPr/>
          <p:nvPr/>
        </p:nvGrpSpPr>
        <p:grpSpPr>
          <a:xfrm>
            <a:off x="581647" y="1769777"/>
            <a:ext cx="911305" cy="970368"/>
            <a:chOff x="3918554" y="774528"/>
            <a:chExt cx="868197" cy="924466"/>
          </a:xfrm>
          <a:solidFill>
            <a:srgbClr val="595959"/>
          </a:solidFill>
        </p:grpSpPr>
        <p:grpSp>
          <p:nvGrpSpPr>
            <p:cNvPr id="29" name="Graphic 2">
              <a:extLst>
                <a:ext uri="{FF2B5EF4-FFF2-40B4-BE49-F238E27FC236}">
                  <a16:creationId xmlns:a16="http://schemas.microsoft.com/office/drawing/2014/main" id="{0F9D2982-59E1-D03F-BF77-BACAC6FC968F}"/>
                </a:ext>
              </a:extLst>
            </p:cNvPr>
            <p:cNvGrpSpPr/>
            <p:nvPr/>
          </p:nvGrpSpPr>
          <p:grpSpPr>
            <a:xfrm>
              <a:off x="3918554" y="774528"/>
              <a:ext cx="868197" cy="924466"/>
              <a:chOff x="3918554" y="774528"/>
              <a:chExt cx="868197" cy="924466"/>
            </a:xfrm>
            <a:grpFill/>
          </p:grpSpPr>
          <p:sp>
            <p:nvSpPr>
              <p:cNvPr id="33" name="Freeform 32">
                <a:extLst>
                  <a:ext uri="{FF2B5EF4-FFF2-40B4-BE49-F238E27FC236}">
                    <a16:creationId xmlns:a16="http://schemas.microsoft.com/office/drawing/2014/main" id="{8A019923-9056-42CE-6793-2A0AD642EB38}"/>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4B53E064-BFFD-3A04-7F6B-DD49369B7914}"/>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30" name="Graphic 2">
              <a:extLst>
                <a:ext uri="{FF2B5EF4-FFF2-40B4-BE49-F238E27FC236}">
                  <a16:creationId xmlns:a16="http://schemas.microsoft.com/office/drawing/2014/main" id="{8FBA9B87-8920-A2EB-0899-9F08EA2DF207}"/>
                </a:ext>
              </a:extLst>
            </p:cNvPr>
            <p:cNvGrpSpPr/>
            <p:nvPr/>
          </p:nvGrpSpPr>
          <p:grpSpPr>
            <a:xfrm>
              <a:off x="3958353" y="890522"/>
              <a:ext cx="708520" cy="605461"/>
              <a:chOff x="3958353" y="890522"/>
              <a:chExt cx="708520" cy="605461"/>
            </a:xfrm>
            <a:grpFill/>
          </p:grpSpPr>
          <p:sp>
            <p:nvSpPr>
              <p:cNvPr id="31" name="Freeform 30">
                <a:extLst>
                  <a:ext uri="{FF2B5EF4-FFF2-40B4-BE49-F238E27FC236}">
                    <a16:creationId xmlns:a16="http://schemas.microsoft.com/office/drawing/2014/main" id="{FF71527C-3D3B-45BB-42C6-1D8E50A49C3B}"/>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A80934B7-3D76-F50F-55EE-00DEF1DF599B}"/>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49" name="TextBox 79">
            <a:extLst>
              <a:ext uri="{FF2B5EF4-FFF2-40B4-BE49-F238E27FC236}">
                <a16:creationId xmlns:a16="http://schemas.microsoft.com/office/drawing/2014/main" id="{71DDDCDB-F776-5BB5-8DFE-F149974BD8DF}"/>
              </a:ext>
            </a:extLst>
          </p:cNvPr>
          <p:cNvSpPr txBox="1"/>
          <p:nvPr/>
        </p:nvSpPr>
        <p:spPr>
          <a:xfrm>
            <a:off x="5532734" y="5316403"/>
            <a:ext cx="878767"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Online</a:t>
            </a:r>
          </a:p>
        </p:txBody>
      </p:sp>
      <p:pic>
        <p:nvPicPr>
          <p:cNvPr id="2" name="Online Media 1" title="How To Create Google Alerts for News 2022">
            <a:hlinkClick r:id="" action="ppaction://media"/>
            <a:extLst>
              <a:ext uri="{FF2B5EF4-FFF2-40B4-BE49-F238E27FC236}">
                <a16:creationId xmlns:a16="http://schemas.microsoft.com/office/drawing/2014/main" id="{C1B807AB-655A-1703-72E3-2611707788AE}"/>
              </a:ext>
            </a:extLst>
          </p:cNvPr>
          <p:cNvPicPr>
            <a:picLocks noRot="1" noChangeAspect="1"/>
          </p:cNvPicPr>
          <p:nvPr>
            <a:videoFile r:link="rId1"/>
          </p:nvPr>
        </p:nvPicPr>
        <p:blipFill>
          <a:blip r:embed="rId3"/>
          <a:stretch>
            <a:fillRect/>
          </a:stretch>
        </p:blipFill>
        <p:spPr>
          <a:xfrm>
            <a:off x="6612845" y="3708352"/>
            <a:ext cx="4476441" cy="2529189"/>
          </a:xfrm>
          <a:prstGeom prst="rect">
            <a:avLst/>
          </a:prstGeom>
        </p:spPr>
      </p:pic>
    </p:spTree>
    <p:extLst>
      <p:ext uri="{BB962C8B-B14F-4D97-AF65-F5344CB8AC3E}">
        <p14:creationId xmlns:p14="http://schemas.microsoft.com/office/powerpoint/2010/main" val="697944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hteck 43">
            <a:extLst>
              <a:ext uri="{FF2B5EF4-FFF2-40B4-BE49-F238E27FC236}">
                <a16:creationId xmlns:a16="http://schemas.microsoft.com/office/drawing/2014/main" id="{C7C55A65-F4C1-EE63-FC8A-52088BD3F391}"/>
              </a:ext>
            </a:extLst>
          </p:cNvPr>
          <p:cNvSpPr/>
          <p:nvPr/>
        </p:nvSpPr>
        <p:spPr>
          <a:xfrm>
            <a:off x="4900491" y="3282481"/>
            <a:ext cx="4846685" cy="891754"/>
          </a:xfrm>
          <a:prstGeom prst="rect">
            <a:avLst/>
          </a:prstGeom>
          <a:solidFill>
            <a:srgbClr val="F16924"/>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75" name="Rechteck 43">
            <a:extLst>
              <a:ext uri="{FF2B5EF4-FFF2-40B4-BE49-F238E27FC236}">
                <a16:creationId xmlns:a16="http://schemas.microsoft.com/office/drawing/2014/main" id="{90EEBF2D-33BC-8A5C-E951-330EFFE11E67}"/>
              </a:ext>
            </a:extLst>
          </p:cNvPr>
          <p:cNvSpPr/>
          <p:nvPr/>
        </p:nvSpPr>
        <p:spPr>
          <a:xfrm>
            <a:off x="4900491" y="2204586"/>
            <a:ext cx="4846686" cy="1001377"/>
          </a:xfrm>
          <a:prstGeom prst="rect">
            <a:avLst/>
          </a:prstGeom>
          <a:solidFill>
            <a:srgbClr val="EDA13E"/>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2</a:t>
            </a:r>
            <a:r>
              <a:rPr lang="el-GR" sz="4000" dirty="0">
                <a:solidFill>
                  <a:schemeClr val="bg1"/>
                </a:solidFill>
              </a:rPr>
              <a:t>   </a:t>
            </a:r>
            <a:r>
              <a:rPr lang="en-US" sz="4000" dirty="0">
                <a:solidFill>
                  <a:schemeClr val="bg1"/>
                </a:solidFill>
              </a:rPr>
              <a:t> </a:t>
            </a:r>
            <a:r>
              <a:rPr lang="en-US" dirty="0">
                <a:solidFill>
                  <a:schemeClr val="bg1"/>
                </a:solidFill>
              </a:rPr>
              <a:t>Οργανωτικά ζητήματα: Βασικοί Δείκτες Απόδοσης (KPI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33594" y="2052197"/>
            <a:ext cx="3159038" cy="4650317"/>
          </a:xfrm>
        </p:spPr>
        <p:txBody>
          <a:bodyPr>
            <a:normAutofit/>
          </a:bodyPr>
          <a:lstStyle/>
          <a:p>
            <a:pPr marL="12700" indent="-12700"/>
            <a:r>
              <a:rPr lang="en-GB" sz="2000" dirty="0">
                <a:latin typeface="Calibri" panose="020F0502020204030204" pitchFamily="34" charset="0"/>
                <a:ea typeface="Lato Light" panose="020F0502020204030203" pitchFamily="34" charset="0"/>
                <a:cs typeface="Calibri" panose="020F0502020204030204" pitchFamily="34" charset="0"/>
              </a:rPr>
              <a:t>Υπάρχει πληθώρα διαθέσιμων πληροφοριών για τον εντοπισμό δεικτών έγκαιρης προειδοποίησης. </a:t>
            </a:r>
          </a:p>
          <a:p>
            <a:pPr marL="12700" indent="-12700"/>
            <a:r>
              <a:rPr lang="en-GB" sz="2000" dirty="0">
                <a:latin typeface="Calibri" panose="020F0502020204030204" pitchFamily="34" charset="0"/>
                <a:ea typeface="Lato Light" panose="020F0502020204030203" pitchFamily="34" charset="0"/>
                <a:cs typeface="Calibri" panose="020F0502020204030204" pitchFamily="34" charset="0"/>
              </a:rPr>
              <a:t>Η πρόκληση είναι να ψάξουμε στα σωστά σημεία και να αξιοποιήσουμε αυτές τις πληροφορίες, και οι Δείκτες Συμπεριφοράς είναι μια ιδιαίτερα σημαντική πηγή δεδομένων.</a:t>
            </a:r>
          </a:p>
          <a:p>
            <a:pPr marL="12700" indent="-12700"/>
            <a:endParaRPr lang="en-GB" sz="1400" dirty="0">
              <a:latin typeface="Calibri" panose="020F0502020204030204" pitchFamily="34" charset="0"/>
              <a:ea typeface="Lato Light" panose="020F0502020204030203" pitchFamily="34" charset="0"/>
              <a:cs typeface="Calibri" panose="020F0502020204030204" pitchFamily="34" charset="0"/>
            </a:endParaRPr>
          </a:p>
          <a:p>
            <a:pPr marL="12700" indent="-12700"/>
            <a:r>
              <a:rPr lang="en-GB" sz="2000" dirty="0">
                <a:latin typeface="Calibri" panose="020F0502020204030204" pitchFamily="34" charset="0"/>
                <a:ea typeface="Lato Light" panose="020F0502020204030203" pitchFamily="34" charset="0"/>
                <a:cs typeface="Calibri" panose="020F0502020204030204" pitchFamily="34" charset="0"/>
              </a:rPr>
              <a:t>Ας δούμε γιατί </a:t>
            </a:r>
          </a:p>
          <a:p>
            <a:pPr marL="12700" indent="-12700"/>
            <a:endParaRPr lang="en-GB" sz="2000" dirty="0">
              <a:latin typeface="Calibri" panose="020F0502020204030204" pitchFamily="34" charset="0"/>
              <a:ea typeface="Lato Light" panose="020F0502020204030203" pitchFamily="34" charset="0"/>
              <a:cs typeface="Calibri" panose="020F0502020204030204" pitchFamily="34" charset="0"/>
            </a:endParaRPr>
          </a:p>
          <a:p>
            <a:pPr marL="12700" indent="-12700"/>
            <a:endParaRPr lang="en-GB" sz="2200" dirty="0">
              <a:latin typeface="Calibri" panose="020F0502020204030204" pitchFamily="34" charset="0"/>
              <a:ea typeface="Lato Light" panose="020F0502020204030203" pitchFamily="34" charset="0"/>
              <a:cs typeface="Calibri" panose="020F0502020204030204" pitchFamily="34" charset="0"/>
            </a:endParaRPr>
          </a:p>
        </p:txBody>
      </p:sp>
      <p:sp>
        <p:nvSpPr>
          <p:cNvPr id="5" name="Rechteck 43">
            <a:extLst>
              <a:ext uri="{FF2B5EF4-FFF2-40B4-BE49-F238E27FC236}">
                <a16:creationId xmlns:a16="http://schemas.microsoft.com/office/drawing/2014/main" id="{55EC1B1F-35BF-5C97-D72E-D9D0BC115583}"/>
              </a:ext>
            </a:extLst>
          </p:cNvPr>
          <p:cNvSpPr/>
          <p:nvPr/>
        </p:nvSpPr>
        <p:spPr>
          <a:xfrm>
            <a:off x="4900491" y="5252633"/>
            <a:ext cx="4370224" cy="1198261"/>
          </a:xfrm>
          <a:prstGeom prst="rect">
            <a:avLst/>
          </a:prstGeom>
          <a:solidFill>
            <a:srgbClr val="245473"/>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nvGrpSpPr>
          <p:cNvPr id="76" name="Group 75">
            <a:extLst>
              <a:ext uri="{FF2B5EF4-FFF2-40B4-BE49-F238E27FC236}">
                <a16:creationId xmlns:a16="http://schemas.microsoft.com/office/drawing/2014/main" id="{B252C721-384C-8506-DC52-6C30B2CE24D3}"/>
              </a:ext>
            </a:extLst>
          </p:cNvPr>
          <p:cNvGrpSpPr/>
          <p:nvPr/>
        </p:nvGrpSpPr>
        <p:grpSpPr>
          <a:xfrm>
            <a:off x="9464104" y="2677708"/>
            <a:ext cx="2604548" cy="4024806"/>
            <a:chOff x="9357727" y="2325994"/>
            <a:chExt cx="2733889" cy="4224677"/>
          </a:xfrm>
        </p:grpSpPr>
        <p:sp>
          <p:nvSpPr>
            <p:cNvPr id="8" name="Freeform 9">
              <a:extLst>
                <a:ext uri="{FF2B5EF4-FFF2-40B4-BE49-F238E27FC236}">
                  <a16:creationId xmlns:a16="http://schemas.microsoft.com/office/drawing/2014/main" id="{D5FBE66F-DA9D-4960-CD9C-6C11879E818C}"/>
                </a:ext>
              </a:extLst>
            </p:cNvPr>
            <p:cNvSpPr>
              <a:spLocks/>
            </p:cNvSpPr>
            <p:nvPr/>
          </p:nvSpPr>
          <p:spPr bwMode="auto">
            <a:xfrm>
              <a:off x="11391303" y="3806961"/>
              <a:ext cx="419627" cy="2044802"/>
            </a:xfrm>
            <a:custGeom>
              <a:avLst/>
              <a:gdLst>
                <a:gd name="T0" fmla="*/ 299 w 299"/>
                <a:gd name="T1" fmla="*/ 1290 h 1457"/>
                <a:gd name="T2" fmla="*/ 299 w 299"/>
                <a:gd name="T3" fmla="*/ 88 h 1457"/>
                <a:gd name="T4" fmla="*/ 237 w 299"/>
                <a:gd name="T5" fmla="*/ 122 h 1457"/>
                <a:gd name="T6" fmla="*/ 0 w 299"/>
                <a:gd name="T7" fmla="*/ 0 h 1457"/>
                <a:gd name="T8" fmla="*/ 0 w 299"/>
                <a:gd name="T9" fmla="*/ 1457 h 1457"/>
                <a:gd name="T10" fmla="*/ 299 w 299"/>
                <a:gd name="T11" fmla="*/ 1290 h 1457"/>
                <a:gd name="T12" fmla="*/ 299 w 299"/>
                <a:gd name="T13" fmla="*/ 1290 h 1457"/>
              </a:gdLst>
              <a:ahLst/>
              <a:cxnLst>
                <a:cxn ang="0">
                  <a:pos x="T0" y="T1"/>
                </a:cxn>
                <a:cxn ang="0">
                  <a:pos x="T2" y="T3"/>
                </a:cxn>
                <a:cxn ang="0">
                  <a:pos x="T4" y="T5"/>
                </a:cxn>
                <a:cxn ang="0">
                  <a:pos x="T6" y="T7"/>
                </a:cxn>
                <a:cxn ang="0">
                  <a:pos x="T8" y="T9"/>
                </a:cxn>
                <a:cxn ang="0">
                  <a:pos x="T10" y="T11"/>
                </a:cxn>
                <a:cxn ang="0">
                  <a:pos x="T12" y="T13"/>
                </a:cxn>
              </a:cxnLst>
              <a:rect l="0" t="0" r="r" b="b"/>
              <a:pathLst>
                <a:path w="299" h="1457">
                  <a:moveTo>
                    <a:pt x="299" y="1290"/>
                  </a:moveTo>
                  <a:lnTo>
                    <a:pt x="299" y="88"/>
                  </a:lnTo>
                  <a:lnTo>
                    <a:pt x="237" y="122"/>
                  </a:lnTo>
                  <a:lnTo>
                    <a:pt x="0" y="0"/>
                  </a:lnTo>
                  <a:lnTo>
                    <a:pt x="0" y="1457"/>
                  </a:lnTo>
                  <a:lnTo>
                    <a:pt x="299" y="1290"/>
                  </a:lnTo>
                  <a:lnTo>
                    <a:pt x="299" y="1290"/>
                  </a:lnTo>
                  <a:close/>
                </a:path>
              </a:pathLst>
            </a:custGeom>
            <a:solidFill>
              <a:srgbClr val="DE9B45"/>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0" name="Freeform 10">
              <a:extLst>
                <a:ext uri="{FF2B5EF4-FFF2-40B4-BE49-F238E27FC236}">
                  <a16:creationId xmlns:a16="http://schemas.microsoft.com/office/drawing/2014/main" id="{EB95F43F-8396-06C6-86E1-71A4BF9C062B}"/>
                </a:ext>
              </a:extLst>
            </p:cNvPr>
            <p:cNvSpPr>
              <a:spLocks/>
            </p:cNvSpPr>
            <p:nvPr/>
          </p:nvSpPr>
          <p:spPr bwMode="auto">
            <a:xfrm>
              <a:off x="11110616" y="2325994"/>
              <a:ext cx="981000" cy="1663068"/>
            </a:xfrm>
            <a:custGeom>
              <a:avLst/>
              <a:gdLst>
                <a:gd name="T0" fmla="*/ 245 w 699"/>
                <a:gd name="T1" fmla="*/ 0 h 1185"/>
                <a:gd name="T2" fmla="*/ 0 w 699"/>
                <a:gd name="T3" fmla="*/ 135 h 1185"/>
                <a:gd name="T4" fmla="*/ 448 w 699"/>
                <a:gd name="T5" fmla="*/ 1185 h 1185"/>
                <a:gd name="T6" fmla="*/ 699 w 699"/>
                <a:gd name="T7" fmla="*/ 1049 h 1185"/>
                <a:gd name="T8" fmla="*/ 245 w 699"/>
                <a:gd name="T9" fmla="*/ 0 h 1185"/>
                <a:gd name="T10" fmla="*/ 245 w 699"/>
                <a:gd name="T11" fmla="*/ 0 h 1185"/>
              </a:gdLst>
              <a:ahLst/>
              <a:cxnLst>
                <a:cxn ang="0">
                  <a:pos x="T0" y="T1"/>
                </a:cxn>
                <a:cxn ang="0">
                  <a:pos x="T2" y="T3"/>
                </a:cxn>
                <a:cxn ang="0">
                  <a:pos x="T4" y="T5"/>
                </a:cxn>
                <a:cxn ang="0">
                  <a:pos x="T6" y="T7"/>
                </a:cxn>
                <a:cxn ang="0">
                  <a:pos x="T8" y="T9"/>
                </a:cxn>
                <a:cxn ang="0">
                  <a:pos x="T10" y="T11"/>
                </a:cxn>
              </a:cxnLst>
              <a:rect l="0" t="0" r="r" b="b"/>
              <a:pathLst>
                <a:path w="699" h="1185">
                  <a:moveTo>
                    <a:pt x="245" y="0"/>
                  </a:moveTo>
                  <a:lnTo>
                    <a:pt x="0" y="135"/>
                  </a:lnTo>
                  <a:lnTo>
                    <a:pt x="448" y="1185"/>
                  </a:lnTo>
                  <a:lnTo>
                    <a:pt x="699" y="1049"/>
                  </a:lnTo>
                  <a:lnTo>
                    <a:pt x="245" y="0"/>
                  </a:lnTo>
                  <a:lnTo>
                    <a:pt x="245" y="0"/>
                  </a:lnTo>
                  <a:close/>
                </a:path>
              </a:pathLst>
            </a:custGeom>
            <a:solidFill>
              <a:srgbClr val="DE9B45"/>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1" name="Freeform 11">
              <a:extLst>
                <a:ext uri="{FF2B5EF4-FFF2-40B4-BE49-F238E27FC236}">
                  <a16:creationId xmlns:a16="http://schemas.microsoft.com/office/drawing/2014/main" id="{C9F069E2-D545-2C08-2536-87919F415E2F}"/>
                </a:ext>
              </a:extLst>
            </p:cNvPr>
            <p:cNvSpPr>
              <a:spLocks/>
            </p:cNvSpPr>
            <p:nvPr/>
          </p:nvSpPr>
          <p:spPr bwMode="auto">
            <a:xfrm>
              <a:off x="10299433" y="2504577"/>
              <a:ext cx="1424485" cy="3347187"/>
            </a:xfrm>
            <a:custGeom>
              <a:avLst/>
              <a:gdLst>
                <a:gd name="T0" fmla="*/ 778 w 1015"/>
                <a:gd name="T1" fmla="*/ 2385 h 2385"/>
                <a:gd name="T2" fmla="*/ 778 w 1015"/>
                <a:gd name="T3" fmla="*/ 928 h 2385"/>
                <a:gd name="T4" fmla="*/ 1015 w 1015"/>
                <a:gd name="T5" fmla="*/ 1050 h 2385"/>
                <a:gd name="T6" fmla="*/ 567 w 1015"/>
                <a:gd name="T7" fmla="*/ 0 h 2385"/>
                <a:gd name="T8" fmla="*/ 0 w 1015"/>
                <a:gd name="T9" fmla="*/ 532 h 2385"/>
                <a:gd name="T10" fmla="*/ 225 w 1015"/>
                <a:gd name="T11" fmla="*/ 645 h 2385"/>
                <a:gd name="T12" fmla="*/ 225 w 1015"/>
                <a:gd name="T13" fmla="*/ 2103 h 2385"/>
                <a:gd name="T14" fmla="*/ 778 w 1015"/>
                <a:gd name="T15" fmla="*/ 2385 h 2385"/>
                <a:gd name="T16" fmla="*/ 778 w 1015"/>
                <a:gd name="T17" fmla="*/ 2385 h 2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5" h="2385">
                  <a:moveTo>
                    <a:pt x="778" y="2385"/>
                  </a:moveTo>
                  <a:lnTo>
                    <a:pt x="778" y="928"/>
                  </a:lnTo>
                  <a:lnTo>
                    <a:pt x="1015" y="1050"/>
                  </a:lnTo>
                  <a:lnTo>
                    <a:pt x="567" y="0"/>
                  </a:lnTo>
                  <a:lnTo>
                    <a:pt x="0" y="532"/>
                  </a:lnTo>
                  <a:lnTo>
                    <a:pt x="225" y="645"/>
                  </a:lnTo>
                  <a:lnTo>
                    <a:pt x="225" y="2103"/>
                  </a:lnTo>
                  <a:lnTo>
                    <a:pt x="778" y="2385"/>
                  </a:lnTo>
                  <a:lnTo>
                    <a:pt x="778" y="2385"/>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5" name="Freeform 12">
              <a:extLst>
                <a:ext uri="{FF2B5EF4-FFF2-40B4-BE49-F238E27FC236}">
                  <a16:creationId xmlns:a16="http://schemas.microsoft.com/office/drawing/2014/main" id="{C4EE26EE-EB43-95EB-A00F-18CC21A5FDFA}"/>
                </a:ext>
              </a:extLst>
            </p:cNvPr>
            <p:cNvSpPr>
              <a:spLocks/>
            </p:cNvSpPr>
            <p:nvPr/>
          </p:nvSpPr>
          <p:spPr bwMode="auto">
            <a:xfrm>
              <a:off x="10195578" y="4032914"/>
              <a:ext cx="1195725" cy="625931"/>
            </a:xfrm>
            <a:custGeom>
              <a:avLst/>
              <a:gdLst>
                <a:gd name="T0" fmla="*/ 852 w 852"/>
                <a:gd name="T1" fmla="*/ 281 h 446"/>
                <a:gd name="T2" fmla="*/ 299 w 852"/>
                <a:gd name="T3" fmla="*/ 0 h 446"/>
                <a:gd name="T4" fmla="*/ 0 w 852"/>
                <a:gd name="T5" fmla="*/ 166 h 446"/>
                <a:gd name="T6" fmla="*/ 554 w 852"/>
                <a:gd name="T7" fmla="*/ 446 h 446"/>
                <a:gd name="T8" fmla="*/ 852 w 852"/>
                <a:gd name="T9" fmla="*/ 281 h 446"/>
                <a:gd name="T10" fmla="*/ 852 w 852"/>
                <a:gd name="T11" fmla="*/ 281 h 446"/>
              </a:gdLst>
              <a:ahLst/>
              <a:cxnLst>
                <a:cxn ang="0">
                  <a:pos x="T0" y="T1"/>
                </a:cxn>
                <a:cxn ang="0">
                  <a:pos x="T2" y="T3"/>
                </a:cxn>
                <a:cxn ang="0">
                  <a:pos x="T4" y="T5"/>
                </a:cxn>
                <a:cxn ang="0">
                  <a:pos x="T6" y="T7"/>
                </a:cxn>
                <a:cxn ang="0">
                  <a:pos x="T8" y="T9"/>
                </a:cxn>
                <a:cxn ang="0">
                  <a:pos x="T10" y="T11"/>
                </a:cxn>
              </a:cxnLst>
              <a:rect l="0" t="0" r="r" b="b"/>
              <a:pathLst>
                <a:path w="852" h="446">
                  <a:moveTo>
                    <a:pt x="852" y="281"/>
                  </a:moveTo>
                  <a:lnTo>
                    <a:pt x="299" y="0"/>
                  </a:lnTo>
                  <a:lnTo>
                    <a:pt x="0" y="166"/>
                  </a:lnTo>
                  <a:lnTo>
                    <a:pt x="554" y="446"/>
                  </a:lnTo>
                  <a:lnTo>
                    <a:pt x="852" y="281"/>
                  </a:lnTo>
                  <a:lnTo>
                    <a:pt x="852" y="281"/>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6" name="Freeform 13">
              <a:extLst>
                <a:ext uri="{FF2B5EF4-FFF2-40B4-BE49-F238E27FC236}">
                  <a16:creationId xmlns:a16="http://schemas.microsoft.com/office/drawing/2014/main" id="{3CE0A0CE-E9E6-686C-FDDA-C01A915D7AD8}"/>
                </a:ext>
              </a:extLst>
            </p:cNvPr>
            <p:cNvSpPr>
              <a:spLocks/>
            </p:cNvSpPr>
            <p:nvPr/>
          </p:nvSpPr>
          <p:spPr bwMode="auto">
            <a:xfrm>
              <a:off x="10195579" y="4265883"/>
              <a:ext cx="777501" cy="1818849"/>
            </a:xfrm>
            <a:custGeom>
              <a:avLst/>
              <a:gdLst>
                <a:gd name="T0" fmla="*/ 554 w 554"/>
                <a:gd name="T1" fmla="*/ 1296 h 1296"/>
                <a:gd name="T2" fmla="*/ 554 w 554"/>
                <a:gd name="T3" fmla="*/ 280 h 1296"/>
                <a:gd name="T4" fmla="*/ 0 w 554"/>
                <a:gd name="T5" fmla="*/ 0 h 1296"/>
                <a:gd name="T6" fmla="*/ 0 w 554"/>
                <a:gd name="T7" fmla="*/ 1013 h 1296"/>
                <a:gd name="T8" fmla="*/ 554 w 554"/>
                <a:gd name="T9" fmla="*/ 1296 h 1296"/>
                <a:gd name="T10" fmla="*/ 554 w 554"/>
                <a:gd name="T11" fmla="*/ 1296 h 1296"/>
              </a:gdLst>
              <a:ahLst/>
              <a:cxnLst>
                <a:cxn ang="0">
                  <a:pos x="T0" y="T1"/>
                </a:cxn>
                <a:cxn ang="0">
                  <a:pos x="T2" y="T3"/>
                </a:cxn>
                <a:cxn ang="0">
                  <a:pos x="T4" y="T5"/>
                </a:cxn>
                <a:cxn ang="0">
                  <a:pos x="T6" y="T7"/>
                </a:cxn>
                <a:cxn ang="0">
                  <a:pos x="T8" y="T9"/>
                </a:cxn>
                <a:cxn ang="0">
                  <a:pos x="T10" y="T11"/>
                </a:cxn>
              </a:cxnLst>
              <a:rect l="0" t="0" r="r" b="b"/>
              <a:pathLst>
                <a:path w="554" h="1296">
                  <a:moveTo>
                    <a:pt x="554" y="1296"/>
                  </a:moveTo>
                  <a:lnTo>
                    <a:pt x="554" y="280"/>
                  </a:lnTo>
                  <a:lnTo>
                    <a:pt x="0" y="0"/>
                  </a:lnTo>
                  <a:lnTo>
                    <a:pt x="0" y="1013"/>
                  </a:lnTo>
                  <a:lnTo>
                    <a:pt x="554" y="1296"/>
                  </a:lnTo>
                  <a:lnTo>
                    <a:pt x="554" y="1296"/>
                  </a:lnTo>
                  <a:close/>
                </a:path>
              </a:pathLst>
            </a:custGeom>
            <a:solidFill>
              <a:srgbClr val="D66A35"/>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7" name="Freeform 14">
              <a:extLst>
                <a:ext uri="{FF2B5EF4-FFF2-40B4-BE49-F238E27FC236}">
                  <a16:creationId xmlns:a16="http://schemas.microsoft.com/office/drawing/2014/main" id="{4F28C4F5-8CE1-CB40-9F95-D292AFA8B92C}"/>
                </a:ext>
              </a:extLst>
            </p:cNvPr>
            <p:cNvSpPr>
              <a:spLocks/>
            </p:cNvSpPr>
            <p:nvPr/>
          </p:nvSpPr>
          <p:spPr bwMode="auto">
            <a:xfrm>
              <a:off x="10973080" y="4427279"/>
              <a:ext cx="418223" cy="1657454"/>
            </a:xfrm>
            <a:custGeom>
              <a:avLst/>
              <a:gdLst>
                <a:gd name="T0" fmla="*/ 298 w 298"/>
                <a:gd name="T1" fmla="*/ 1015 h 1181"/>
                <a:gd name="T2" fmla="*/ 298 w 298"/>
                <a:gd name="T3" fmla="*/ 0 h 1181"/>
                <a:gd name="T4" fmla="*/ 0 w 298"/>
                <a:gd name="T5" fmla="*/ 165 h 1181"/>
                <a:gd name="T6" fmla="*/ 0 w 298"/>
                <a:gd name="T7" fmla="*/ 1181 h 1181"/>
                <a:gd name="T8" fmla="*/ 298 w 298"/>
                <a:gd name="T9" fmla="*/ 1015 h 1181"/>
                <a:gd name="T10" fmla="*/ 298 w 298"/>
                <a:gd name="T11" fmla="*/ 1015 h 1181"/>
              </a:gdLst>
              <a:ahLst/>
              <a:cxnLst>
                <a:cxn ang="0">
                  <a:pos x="T0" y="T1"/>
                </a:cxn>
                <a:cxn ang="0">
                  <a:pos x="T2" y="T3"/>
                </a:cxn>
                <a:cxn ang="0">
                  <a:pos x="T4" y="T5"/>
                </a:cxn>
                <a:cxn ang="0">
                  <a:pos x="T6" y="T7"/>
                </a:cxn>
                <a:cxn ang="0">
                  <a:pos x="T8" y="T9"/>
                </a:cxn>
                <a:cxn ang="0">
                  <a:pos x="T10" y="T11"/>
                </a:cxn>
              </a:cxnLst>
              <a:rect l="0" t="0" r="r" b="b"/>
              <a:pathLst>
                <a:path w="298" h="1181">
                  <a:moveTo>
                    <a:pt x="298" y="1015"/>
                  </a:moveTo>
                  <a:lnTo>
                    <a:pt x="298" y="0"/>
                  </a:lnTo>
                  <a:lnTo>
                    <a:pt x="0" y="165"/>
                  </a:lnTo>
                  <a:lnTo>
                    <a:pt x="0" y="1181"/>
                  </a:lnTo>
                  <a:lnTo>
                    <a:pt x="298" y="1015"/>
                  </a:lnTo>
                  <a:lnTo>
                    <a:pt x="298" y="1015"/>
                  </a:lnTo>
                  <a:close/>
                </a:path>
              </a:pathLst>
            </a:custGeom>
            <a:solidFill>
              <a:srgbClr val="D66A35"/>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8" name="Freeform 15">
              <a:extLst>
                <a:ext uri="{FF2B5EF4-FFF2-40B4-BE49-F238E27FC236}">
                  <a16:creationId xmlns:a16="http://schemas.microsoft.com/office/drawing/2014/main" id="{B6C7281F-C0ED-21D4-3868-6C8CF89CEE02}"/>
                </a:ext>
              </a:extLst>
            </p:cNvPr>
            <p:cNvSpPr>
              <a:spLocks/>
            </p:cNvSpPr>
            <p:nvPr/>
          </p:nvSpPr>
          <p:spPr bwMode="auto">
            <a:xfrm>
              <a:off x="9777355" y="4605515"/>
              <a:ext cx="1195724" cy="625931"/>
            </a:xfrm>
            <a:custGeom>
              <a:avLst/>
              <a:gdLst>
                <a:gd name="T0" fmla="*/ 852 w 852"/>
                <a:gd name="T1" fmla="*/ 283 h 446"/>
                <a:gd name="T2" fmla="*/ 298 w 852"/>
                <a:gd name="T3" fmla="*/ 0 h 446"/>
                <a:gd name="T4" fmla="*/ 0 w 852"/>
                <a:gd name="T5" fmla="*/ 166 h 446"/>
                <a:gd name="T6" fmla="*/ 553 w 852"/>
                <a:gd name="T7" fmla="*/ 446 h 446"/>
                <a:gd name="T8" fmla="*/ 852 w 852"/>
                <a:gd name="T9" fmla="*/ 283 h 446"/>
                <a:gd name="T10" fmla="*/ 852 w 852"/>
                <a:gd name="T11" fmla="*/ 283 h 446"/>
              </a:gdLst>
              <a:ahLst/>
              <a:cxnLst>
                <a:cxn ang="0">
                  <a:pos x="T0" y="T1"/>
                </a:cxn>
                <a:cxn ang="0">
                  <a:pos x="T2" y="T3"/>
                </a:cxn>
                <a:cxn ang="0">
                  <a:pos x="T4" y="T5"/>
                </a:cxn>
                <a:cxn ang="0">
                  <a:pos x="T6" y="T7"/>
                </a:cxn>
                <a:cxn ang="0">
                  <a:pos x="T8" y="T9"/>
                </a:cxn>
                <a:cxn ang="0">
                  <a:pos x="T10" y="T11"/>
                </a:cxn>
              </a:cxnLst>
              <a:rect l="0" t="0" r="r" b="b"/>
              <a:pathLst>
                <a:path w="852" h="446">
                  <a:moveTo>
                    <a:pt x="852" y="283"/>
                  </a:moveTo>
                  <a:lnTo>
                    <a:pt x="298" y="0"/>
                  </a:lnTo>
                  <a:lnTo>
                    <a:pt x="0" y="166"/>
                  </a:lnTo>
                  <a:lnTo>
                    <a:pt x="553" y="446"/>
                  </a:lnTo>
                  <a:lnTo>
                    <a:pt x="852" y="283"/>
                  </a:lnTo>
                  <a:lnTo>
                    <a:pt x="852" y="283"/>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9" name="Freeform 16">
              <a:extLst>
                <a:ext uri="{FF2B5EF4-FFF2-40B4-BE49-F238E27FC236}">
                  <a16:creationId xmlns:a16="http://schemas.microsoft.com/office/drawing/2014/main" id="{5637CC85-6137-9356-06D5-7F2AF74994EB}"/>
                </a:ext>
              </a:extLst>
            </p:cNvPr>
            <p:cNvSpPr>
              <a:spLocks/>
            </p:cNvSpPr>
            <p:nvPr/>
          </p:nvSpPr>
          <p:spPr bwMode="auto">
            <a:xfrm>
              <a:off x="10553453" y="5002687"/>
              <a:ext cx="419627" cy="1313613"/>
            </a:xfrm>
            <a:custGeom>
              <a:avLst/>
              <a:gdLst>
                <a:gd name="T0" fmla="*/ 299 w 299"/>
                <a:gd name="T1" fmla="*/ 771 h 936"/>
                <a:gd name="T2" fmla="*/ 299 w 299"/>
                <a:gd name="T3" fmla="*/ 0 h 936"/>
                <a:gd name="T4" fmla="*/ 0 w 299"/>
                <a:gd name="T5" fmla="*/ 163 h 936"/>
                <a:gd name="T6" fmla="*/ 0 w 299"/>
                <a:gd name="T7" fmla="*/ 936 h 936"/>
                <a:gd name="T8" fmla="*/ 299 w 299"/>
                <a:gd name="T9" fmla="*/ 771 h 936"/>
                <a:gd name="T10" fmla="*/ 299 w 299"/>
                <a:gd name="T11" fmla="*/ 771 h 936"/>
              </a:gdLst>
              <a:ahLst/>
              <a:cxnLst>
                <a:cxn ang="0">
                  <a:pos x="T0" y="T1"/>
                </a:cxn>
                <a:cxn ang="0">
                  <a:pos x="T2" y="T3"/>
                </a:cxn>
                <a:cxn ang="0">
                  <a:pos x="T4" y="T5"/>
                </a:cxn>
                <a:cxn ang="0">
                  <a:pos x="T6" y="T7"/>
                </a:cxn>
                <a:cxn ang="0">
                  <a:pos x="T8" y="T9"/>
                </a:cxn>
                <a:cxn ang="0">
                  <a:pos x="T10" y="T11"/>
                </a:cxn>
              </a:cxnLst>
              <a:rect l="0" t="0" r="r" b="b"/>
              <a:pathLst>
                <a:path w="299" h="936">
                  <a:moveTo>
                    <a:pt x="299" y="771"/>
                  </a:moveTo>
                  <a:lnTo>
                    <a:pt x="299" y="0"/>
                  </a:lnTo>
                  <a:lnTo>
                    <a:pt x="0" y="163"/>
                  </a:lnTo>
                  <a:lnTo>
                    <a:pt x="0" y="936"/>
                  </a:lnTo>
                  <a:lnTo>
                    <a:pt x="299" y="771"/>
                  </a:lnTo>
                  <a:lnTo>
                    <a:pt x="299" y="771"/>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0" name="Freeform 17">
              <a:extLst>
                <a:ext uri="{FF2B5EF4-FFF2-40B4-BE49-F238E27FC236}">
                  <a16:creationId xmlns:a16="http://schemas.microsoft.com/office/drawing/2014/main" id="{BDD2D163-F7CB-9DF4-4461-C78D172A3F99}"/>
                </a:ext>
              </a:extLst>
            </p:cNvPr>
            <p:cNvSpPr>
              <a:spLocks/>
            </p:cNvSpPr>
            <p:nvPr/>
          </p:nvSpPr>
          <p:spPr bwMode="auto">
            <a:xfrm>
              <a:off x="9794467" y="4832268"/>
              <a:ext cx="776098" cy="1477815"/>
            </a:xfrm>
            <a:custGeom>
              <a:avLst/>
              <a:gdLst>
                <a:gd name="T0" fmla="*/ 553 w 553"/>
                <a:gd name="T1" fmla="*/ 1053 h 1053"/>
                <a:gd name="T2" fmla="*/ 553 w 553"/>
                <a:gd name="T3" fmla="*/ 280 h 1053"/>
                <a:gd name="T4" fmla="*/ 0 w 553"/>
                <a:gd name="T5" fmla="*/ 0 h 1053"/>
                <a:gd name="T6" fmla="*/ 0 w 553"/>
                <a:gd name="T7" fmla="*/ 772 h 1053"/>
                <a:gd name="T8" fmla="*/ 553 w 553"/>
                <a:gd name="T9" fmla="*/ 1053 h 1053"/>
                <a:gd name="T10" fmla="*/ 553 w 553"/>
                <a:gd name="T11" fmla="*/ 1053 h 1053"/>
              </a:gdLst>
              <a:ahLst/>
              <a:cxnLst>
                <a:cxn ang="0">
                  <a:pos x="T0" y="T1"/>
                </a:cxn>
                <a:cxn ang="0">
                  <a:pos x="T2" y="T3"/>
                </a:cxn>
                <a:cxn ang="0">
                  <a:pos x="T4" y="T5"/>
                </a:cxn>
                <a:cxn ang="0">
                  <a:pos x="T6" y="T7"/>
                </a:cxn>
                <a:cxn ang="0">
                  <a:pos x="T8" y="T9"/>
                </a:cxn>
                <a:cxn ang="0">
                  <a:pos x="T10" y="T11"/>
                </a:cxn>
              </a:cxnLst>
              <a:rect l="0" t="0" r="r" b="b"/>
              <a:pathLst>
                <a:path w="553" h="1053">
                  <a:moveTo>
                    <a:pt x="553" y="1053"/>
                  </a:moveTo>
                  <a:lnTo>
                    <a:pt x="553" y="280"/>
                  </a:lnTo>
                  <a:lnTo>
                    <a:pt x="0" y="0"/>
                  </a:lnTo>
                  <a:lnTo>
                    <a:pt x="0" y="772"/>
                  </a:lnTo>
                  <a:lnTo>
                    <a:pt x="553" y="1053"/>
                  </a:lnTo>
                  <a:lnTo>
                    <a:pt x="553" y="1053"/>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nvGrpSpPr>
            <p:cNvPr id="21" name="Group 28">
              <a:extLst>
                <a:ext uri="{FF2B5EF4-FFF2-40B4-BE49-F238E27FC236}">
                  <a16:creationId xmlns:a16="http://schemas.microsoft.com/office/drawing/2014/main" id="{C36DC48F-03A6-C685-3F26-735BD66AF3B0}"/>
                </a:ext>
              </a:extLst>
            </p:cNvPr>
            <p:cNvGrpSpPr/>
            <p:nvPr/>
          </p:nvGrpSpPr>
          <p:grpSpPr>
            <a:xfrm>
              <a:off x="9357727" y="5185131"/>
              <a:ext cx="1195727" cy="1365540"/>
              <a:chOff x="8526457" y="4929184"/>
              <a:chExt cx="1352552" cy="1544637"/>
            </a:xfrm>
          </p:grpSpPr>
          <p:sp>
            <p:nvSpPr>
              <p:cNvPr id="22" name="Freeform 18">
                <a:extLst>
                  <a:ext uri="{FF2B5EF4-FFF2-40B4-BE49-F238E27FC236}">
                    <a16:creationId xmlns:a16="http://schemas.microsoft.com/office/drawing/2014/main" id="{2E486461-341C-0620-81A6-3E4AA6E2B22E}"/>
                  </a:ext>
                </a:extLst>
              </p:cNvPr>
              <p:cNvSpPr>
                <a:spLocks/>
              </p:cNvSpPr>
              <p:nvPr/>
            </p:nvSpPr>
            <p:spPr bwMode="auto">
              <a:xfrm>
                <a:off x="8526460" y="4929184"/>
                <a:ext cx="1352549" cy="709613"/>
              </a:xfrm>
              <a:custGeom>
                <a:avLst/>
                <a:gdLst>
                  <a:gd name="T0" fmla="*/ 852 w 852"/>
                  <a:gd name="T1" fmla="*/ 282 h 447"/>
                  <a:gd name="T2" fmla="*/ 299 w 852"/>
                  <a:gd name="T3" fmla="*/ 0 h 447"/>
                  <a:gd name="T4" fmla="*/ 0 w 852"/>
                  <a:gd name="T5" fmla="*/ 165 h 447"/>
                  <a:gd name="T6" fmla="*/ 554 w 852"/>
                  <a:gd name="T7" fmla="*/ 447 h 447"/>
                  <a:gd name="T8" fmla="*/ 852 w 852"/>
                  <a:gd name="T9" fmla="*/ 282 h 447"/>
                  <a:gd name="T10" fmla="*/ 852 w 852"/>
                  <a:gd name="T11" fmla="*/ 282 h 447"/>
                </a:gdLst>
                <a:ahLst/>
                <a:cxnLst>
                  <a:cxn ang="0">
                    <a:pos x="T0" y="T1"/>
                  </a:cxn>
                  <a:cxn ang="0">
                    <a:pos x="T2" y="T3"/>
                  </a:cxn>
                  <a:cxn ang="0">
                    <a:pos x="T4" y="T5"/>
                  </a:cxn>
                  <a:cxn ang="0">
                    <a:pos x="T6" y="T7"/>
                  </a:cxn>
                  <a:cxn ang="0">
                    <a:pos x="T8" y="T9"/>
                  </a:cxn>
                  <a:cxn ang="0">
                    <a:pos x="T10" y="T11"/>
                  </a:cxn>
                </a:cxnLst>
                <a:rect l="0" t="0" r="r" b="b"/>
                <a:pathLst>
                  <a:path w="852" h="447">
                    <a:moveTo>
                      <a:pt x="852" y="282"/>
                    </a:moveTo>
                    <a:lnTo>
                      <a:pt x="299" y="0"/>
                    </a:lnTo>
                    <a:lnTo>
                      <a:pt x="0" y="165"/>
                    </a:lnTo>
                    <a:lnTo>
                      <a:pt x="554" y="447"/>
                    </a:lnTo>
                    <a:lnTo>
                      <a:pt x="852" y="282"/>
                    </a:lnTo>
                    <a:lnTo>
                      <a:pt x="852" y="282"/>
                    </a:lnTo>
                    <a:close/>
                  </a:path>
                </a:pathLst>
              </a:custGeom>
              <a:solidFill>
                <a:srgbClr val="2454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3" name="Freeform 19">
                <a:extLst>
                  <a:ext uri="{FF2B5EF4-FFF2-40B4-BE49-F238E27FC236}">
                    <a16:creationId xmlns:a16="http://schemas.microsoft.com/office/drawing/2014/main" id="{CFD1D0D3-D747-C952-EEAF-D901D799A77C}"/>
                  </a:ext>
                </a:extLst>
              </p:cNvPr>
              <p:cNvSpPr>
                <a:spLocks/>
              </p:cNvSpPr>
              <p:nvPr/>
            </p:nvSpPr>
            <p:spPr bwMode="auto">
              <a:xfrm>
                <a:off x="9405934" y="5376859"/>
                <a:ext cx="473075" cy="1096962"/>
              </a:xfrm>
              <a:custGeom>
                <a:avLst/>
                <a:gdLst>
                  <a:gd name="T0" fmla="*/ 298 w 298"/>
                  <a:gd name="T1" fmla="*/ 524 h 691"/>
                  <a:gd name="T2" fmla="*/ 298 w 298"/>
                  <a:gd name="T3" fmla="*/ 0 h 691"/>
                  <a:gd name="T4" fmla="*/ 0 w 298"/>
                  <a:gd name="T5" fmla="*/ 165 h 691"/>
                  <a:gd name="T6" fmla="*/ 0 w 298"/>
                  <a:gd name="T7" fmla="*/ 691 h 691"/>
                  <a:gd name="T8" fmla="*/ 298 w 298"/>
                  <a:gd name="T9" fmla="*/ 524 h 691"/>
                  <a:gd name="T10" fmla="*/ 298 w 298"/>
                  <a:gd name="T11" fmla="*/ 524 h 691"/>
                </a:gdLst>
                <a:ahLst/>
                <a:cxnLst>
                  <a:cxn ang="0">
                    <a:pos x="T0" y="T1"/>
                  </a:cxn>
                  <a:cxn ang="0">
                    <a:pos x="T2" y="T3"/>
                  </a:cxn>
                  <a:cxn ang="0">
                    <a:pos x="T4" y="T5"/>
                  </a:cxn>
                  <a:cxn ang="0">
                    <a:pos x="T6" y="T7"/>
                  </a:cxn>
                  <a:cxn ang="0">
                    <a:pos x="T8" y="T9"/>
                  </a:cxn>
                  <a:cxn ang="0">
                    <a:pos x="T10" y="T11"/>
                  </a:cxn>
                </a:cxnLst>
                <a:rect l="0" t="0" r="r" b="b"/>
                <a:pathLst>
                  <a:path w="298" h="691">
                    <a:moveTo>
                      <a:pt x="298" y="524"/>
                    </a:moveTo>
                    <a:lnTo>
                      <a:pt x="298" y="0"/>
                    </a:lnTo>
                    <a:lnTo>
                      <a:pt x="0" y="165"/>
                    </a:lnTo>
                    <a:lnTo>
                      <a:pt x="0" y="691"/>
                    </a:lnTo>
                    <a:lnTo>
                      <a:pt x="298" y="524"/>
                    </a:lnTo>
                    <a:lnTo>
                      <a:pt x="298" y="524"/>
                    </a:lnTo>
                    <a:close/>
                  </a:path>
                </a:pathLst>
              </a:custGeom>
              <a:solidFill>
                <a:srgbClr val="18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4" name="Freeform 20">
                <a:extLst>
                  <a:ext uri="{FF2B5EF4-FFF2-40B4-BE49-F238E27FC236}">
                    <a16:creationId xmlns:a16="http://schemas.microsoft.com/office/drawing/2014/main" id="{16BDCCAE-8E42-F9E5-597C-D39E772EF0F7}"/>
                  </a:ext>
                </a:extLst>
              </p:cNvPr>
              <p:cNvSpPr>
                <a:spLocks/>
              </p:cNvSpPr>
              <p:nvPr/>
            </p:nvSpPr>
            <p:spPr bwMode="auto">
              <a:xfrm>
                <a:off x="8526457" y="5191122"/>
                <a:ext cx="879474" cy="1282699"/>
              </a:xfrm>
              <a:custGeom>
                <a:avLst/>
                <a:gdLst>
                  <a:gd name="T0" fmla="*/ 554 w 554"/>
                  <a:gd name="T1" fmla="*/ 808 h 808"/>
                  <a:gd name="T2" fmla="*/ 554 w 554"/>
                  <a:gd name="T3" fmla="*/ 282 h 808"/>
                  <a:gd name="T4" fmla="*/ 0 w 554"/>
                  <a:gd name="T5" fmla="*/ 0 h 808"/>
                  <a:gd name="T6" fmla="*/ 0 w 554"/>
                  <a:gd name="T7" fmla="*/ 525 h 808"/>
                  <a:gd name="T8" fmla="*/ 554 w 554"/>
                  <a:gd name="T9" fmla="*/ 808 h 808"/>
                  <a:gd name="T10" fmla="*/ 554 w 554"/>
                  <a:gd name="T11" fmla="*/ 808 h 808"/>
                </a:gdLst>
                <a:ahLst/>
                <a:cxnLst>
                  <a:cxn ang="0">
                    <a:pos x="T0" y="T1"/>
                  </a:cxn>
                  <a:cxn ang="0">
                    <a:pos x="T2" y="T3"/>
                  </a:cxn>
                  <a:cxn ang="0">
                    <a:pos x="T4" y="T5"/>
                  </a:cxn>
                  <a:cxn ang="0">
                    <a:pos x="T6" y="T7"/>
                  </a:cxn>
                  <a:cxn ang="0">
                    <a:pos x="T8" y="T9"/>
                  </a:cxn>
                  <a:cxn ang="0">
                    <a:pos x="T10" y="T11"/>
                  </a:cxn>
                </a:cxnLst>
                <a:rect l="0" t="0" r="r" b="b"/>
                <a:pathLst>
                  <a:path w="554" h="808">
                    <a:moveTo>
                      <a:pt x="554" y="808"/>
                    </a:moveTo>
                    <a:lnTo>
                      <a:pt x="554" y="282"/>
                    </a:lnTo>
                    <a:lnTo>
                      <a:pt x="0" y="0"/>
                    </a:lnTo>
                    <a:lnTo>
                      <a:pt x="0" y="525"/>
                    </a:lnTo>
                    <a:lnTo>
                      <a:pt x="554" y="808"/>
                    </a:lnTo>
                    <a:lnTo>
                      <a:pt x="554" y="808"/>
                    </a:lnTo>
                    <a:close/>
                  </a:path>
                </a:pathLst>
              </a:custGeom>
              <a:solidFill>
                <a:srgbClr val="18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grpSp>
      <p:sp>
        <p:nvSpPr>
          <p:cNvPr id="60" name="Rechteck 42">
            <a:extLst>
              <a:ext uri="{FF2B5EF4-FFF2-40B4-BE49-F238E27FC236}">
                <a16:creationId xmlns:a16="http://schemas.microsoft.com/office/drawing/2014/main" id="{47746F9B-44CB-ABF5-F095-2788148BA6BD}"/>
              </a:ext>
            </a:extLst>
          </p:cNvPr>
          <p:cNvSpPr/>
          <p:nvPr/>
        </p:nvSpPr>
        <p:spPr>
          <a:xfrm>
            <a:off x="4900491" y="4234015"/>
            <a:ext cx="3101848" cy="951116"/>
          </a:xfrm>
          <a:prstGeom prst="rect">
            <a:avLst/>
          </a:pr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61" name="Freeform 7">
            <a:extLst>
              <a:ext uri="{FF2B5EF4-FFF2-40B4-BE49-F238E27FC236}">
                <a16:creationId xmlns:a16="http://schemas.microsoft.com/office/drawing/2014/main" id="{52752C48-F48A-64DF-973F-3025FD4E83CC}"/>
              </a:ext>
            </a:extLst>
          </p:cNvPr>
          <p:cNvSpPr>
            <a:spLocks/>
          </p:cNvSpPr>
          <p:nvPr/>
        </p:nvSpPr>
        <p:spPr bwMode="auto">
          <a:xfrm>
            <a:off x="7223449" y="4222917"/>
            <a:ext cx="2523727" cy="962214"/>
          </a:xfrm>
          <a:custGeom>
            <a:avLst/>
            <a:gdLst>
              <a:gd name="T0" fmla="*/ 0 w 1819"/>
              <a:gd name="T1" fmla="*/ 410 h 410"/>
              <a:gd name="T2" fmla="*/ 0 w 1819"/>
              <a:gd name="T3" fmla="*/ 0 h 410"/>
              <a:gd name="T4" fmla="*/ 1819 w 1819"/>
              <a:gd name="T5" fmla="*/ 0 h 410"/>
              <a:gd name="T6" fmla="*/ 1819 w 1819"/>
              <a:gd name="T7" fmla="*/ 231 h 410"/>
              <a:gd name="T8" fmla="*/ 1518 w 1819"/>
              <a:gd name="T9" fmla="*/ 394 h 410"/>
              <a:gd name="T10" fmla="*/ 1518 w 1819"/>
              <a:gd name="T11" fmla="*/ 410 h 410"/>
              <a:gd name="T12" fmla="*/ 0 w 1819"/>
              <a:gd name="T13" fmla="*/ 410 h 410"/>
              <a:gd name="T14" fmla="*/ 0 w 1819"/>
              <a:gd name="T15" fmla="*/ 410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0">
                <a:moveTo>
                  <a:pt x="0" y="410"/>
                </a:moveTo>
                <a:lnTo>
                  <a:pt x="0" y="0"/>
                </a:lnTo>
                <a:lnTo>
                  <a:pt x="1819" y="0"/>
                </a:lnTo>
                <a:lnTo>
                  <a:pt x="1819" y="231"/>
                </a:lnTo>
                <a:lnTo>
                  <a:pt x="1518" y="394"/>
                </a:lnTo>
                <a:lnTo>
                  <a:pt x="1518" y="410"/>
                </a:lnTo>
                <a:lnTo>
                  <a:pt x="0" y="410"/>
                </a:lnTo>
                <a:lnTo>
                  <a:pt x="0" y="41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63" name="Subtitle 2">
            <a:extLst>
              <a:ext uri="{FF2B5EF4-FFF2-40B4-BE49-F238E27FC236}">
                <a16:creationId xmlns:a16="http://schemas.microsoft.com/office/drawing/2014/main" id="{7D6D89FF-8F18-3EA6-A75A-0BB844D80E8F}"/>
              </a:ext>
            </a:extLst>
          </p:cNvPr>
          <p:cNvSpPr txBox="1">
            <a:spLocks/>
          </p:cNvSpPr>
          <p:nvPr/>
        </p:nvSpPr>
        <p:spPr>
          <a:xfrm>
            <a:off x="5021804" y="5330514"/>
            <a:ext cx="4248911" cy="10570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600" dirty="0">
                <a:solidFill>
                  <a:schemeClr val="bg1"/>
                </a:solidFill>
                <a:latin typeface="+mn-lt"/>
                <a:ea typeface="Lato Light" panose="020F0502020204030203" pitchFamily="34" charset="0"/>
                <a:cs typeface="Mukta ExtraLight" panose="020B0000000000000000" pitchFamily="34" charset="77"/>
              </a:rPr>
              <a:t>KPI σημαίνει Key Performance Indicator (Βασικός Δείκτης Απόδοσης) - και αυτό είναι το ζητούμενο - ο προσδιορισμός, η μέτρηση και ο έλεγχος των βασικών δεικτών απόδοσης της εταιρείας.</a:t>
            </a:r>
          </a:p>
        </p:txBody>
      </p:sp>
      <p:sp>
        <p:nvSpPr>
          <p:cNvPr id="64" name="Subtitle 2">
            <a:extLst>
              <a:ext uri="{FF2B5EF4-FFF2-40B4-BE49-F238E27FC236}">
                <a16:creationId xmlns:a16="http://schemas.microsoft.com/office/drawing/2014/main" id="{670811B2-7FCA-D86C-2337-B2846569C9F4}"/>
              </a:ext>
            </a:extLst>
          </p:cNvPr>
          <p:cNvSpPr txBox="1">
            <a:spLocks/>
          </p:cNvSpPr>
          <p:nvPr/>
        </p:nvSpPr>
        <p:spPr>
          <a:xfrm>
            <a:off x="5021804" y="4283438"/>
            <a:ext cx="4617514" cy="8133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600" dirty="0">
                <a:solidFill>
                  <a:schemeClr val="bg1"/>
                </a:solidFill>
                <a:latin typeface="+mn-lt"/>
                <a:ea typeface="Lato Light" panose="020F0502020204030203" pitchFamily="34" charset="0"/>
                <a:cs typeface="Mukta ExtraLight" panose="020B0000000000000000" pitchFamily="34" charset="77"/>
              </a:rPr>
              <a:t>Οι ΚΔΤ χρησιμοποιούνται συνήθως από τις ΜΜΕ για την αξιολόγηση της επιτυχίας τους ή της επιτυχίας μιας συγκεκριμένης δραστηριότητας που ασκούν.</a:t>
            </a:r>
          </a:p>
        </p:txBody>
      </p:sp>
      <p:sp>
        <p:nvSpPr>
          <p:cNvPr id="65" name="Subtitle 2">
            <a:extLst>
              <a:ext uri="{FF2B5EF4-FFF2-40B4-BE49-F238E27FC236}">
                <a16:creationId xmlns:a16="http://schemas.microsoft.com/office/drawing/2014/main" id="{58CE92F6-7037-606F-F04A-DAD03D581DA1}"/>
              </a:ext>
            </a:extLst>
          </p:cNvPr>
          <p:cNvSpPr txBox="1">
            <a:spLocks/>
          </p:cNvSpPr>
          <p:nvPr/>
        </p:nvSpPr>
        <p:spPr>
          <a:xfrm>
            <a:off x="5168896" y="3332322"/>
            <a:ext cx="4470421" cy="813346"/>
          </a:xfrm>
          <a:prstGeom prst="rect">
            <a:avLst/>
          </a:prstGeom>
          <a:no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600" dirty="0">
                <a:solidFill>
                  <a:schemeClr val="bg1"/>
                </a:solidFill>
                <a:latin typeface="+mn-lt"/>
                <a:ea typeface="Lato Light" panose="020F0502020204030203" pitchFamily="34" charset="0"/>
                <a:cs typeface="Mukta ExtraLight" panose="020B0000000000000000" pitchFamily="34" charset="77"/>
              </a:rPr>
              <a:t>Η επιλογή των σωστών δεικτών απόδοσης εξαρτάται από την καλή κατανόηση του τι είναι σημαντικό για τη ΜΜΕ και την επιτυχία της.</a:t>
            </a:r>
          </a:p>
        </p:txBody>
      </p:sp>
      <p:sp>
        <p:nvSpPr>
          <p:cNvPr id="66" name="Subtitle 2">
            <a:extLst>
              <a:ext uri="{FF2B5EF4-FFF2-40B4-BE49-F238E27FC236}">
                <a16:creationId xmlns:a16="http://schemas.microsoft.com/office/drawing/2014/main" id="{E66D4A10-E985-4876-5B52-C88FA50FAA31}"/>
              </a:ext>
            </a:extLst>
          </p:cNvPr>
          <p:cNvSpPr txBox="1">
            <a:spLocks/>
          </p:cNvSpPr>
          <p:nvPr/>
        </p:nvSpPr>
        <p:spPr>
          <a:xfrm>
            <a:off x="5071196" y="2296873"/>
            <a:ext cx="4500849" cy="1047834"/>
          </a:xfrm>
          <a:prstGeom prst="rect">
            <a:avLst/>
          </a:prstGeom>
          <a:no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600" dirty="0">
                <a:solidFill>
                  <a:schemeClr val="bg1"/>
                </a:solidFill>
                <a:latin typeface="+mn-lt"/>
                <a:ea typeface="Lato Light" panose="020F0502020204030203" pitchFamily="34" charset="0"/>
                <a:cs typeface="Mukta ExtraLight" panose="020B0000000000000000" pitchFamily="34" charset="77"/>
              </a:rPr>
              <a:t>Η αξιολόγηση των KPI οδηγεί συχνά στον εντοπισμό πιθανών βελτιώσεων ΚΑΙ στην κατανόηση μιας επερχόμενης κρίσης. </a:t>
            </a:r>
          </a:p>
          <a:p>
            <a:pPr>
              <a:lnSpc>
                <a:spcPts val="1860"/>
              </a:lnSpc>
            </a:pPr>
            <a:endParaRPr lang="en-GB" sz="800" dirty="0">
              <a:solidFill>
                <a:schemeClr val="bg1"/>
              </a:solidFill>
              <a:latin typeface="+mj-lt"/>
              <a:ea typeface="Lato Light" panose="020F0502020204030203" pitchFamily="34" charset="0"/>
              <a:cs typeface="Mukta ExtraLight" panose="020B0000000000000000" pitchFamily="34" charset="77"/>
            </a:endParaRPr>
          </a:p>
        </p:txBody>
      </p:sp>
      <p:grpSp>
        <p:nvGrpSpPr>
          <p:cNvPr id="77" name="Group 76">
            <a:extLst>
              <a:ext uri="{FF2B5EF4-FFF2-40B4-BE49-F238E27FC236}">
                <a16:creationId xmlns:a16="http://schemas.microsoft.com/office/drawing/2014/main" id="{BA1CB341-ABB8-40D0-39C5-9B7FE2DE7897}"/>
              </a:ext>
            </a:extLst>
          </p:cNvPr>
          <p:cNvGrpSpPr/>
          <p:nvPr/>
        </p:nvGrpSpPr>
        <p:grpSpPr>
          <a:xfrm>
            <a:off x="524290" y="1905212"/>
            <a:ext cx="868457" cy="867509"/>
            <a:chOff x="7257599" y="768348"/>
            <a:chExt cx="868457" cy="867509"/>
          </a:xfrm>
          <a:solidFill>
            <a:srgbClr val="595959"/>
          </a:solidFill>
        </p:grpSpPr>
        <p:sp>
          <p:nvSpPr>
            <p:cNvPr id="78" name="Freeform 77">
              <a:extLst>
                <a:ext uri="{FF2B5EF4-FFF2-40B4-BE49-F238E27FC236}">
                  <a16:creationId xmlns:a16="http://schemas.microsoft.com/office/drawing/2014/main" id="{483C415F-3D87-0BE0-A306-C93D6FF92E17}"/>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79" name="Graphic 2">
              <a:extLst>
                <a:ext uri="{FF2B5EF4-FFF2-40B4-BE49-F238E27FC236}">
                  <a16:creationId xmlns:a16="http://schemas.microsoft.com/office/drawing/2014/main" id="{F3FC9103-087A-6868-DB82-EDD0A244B21A}"/>
                </a:ext>
              </a:extLst>
            </p:cNvPr>
            <p:cNvGrpSpPr/>
            <p:nvPr/>
          </p:nvGrpSpPr>
          <p:grpSpPr>
            <a:xfrm>
              <a:off x="7257599" y="768348"/>
              <a:ext cx="868457" cy="867509"/>
              <a:chOff x="7257599" y="768348"/>
              <a:chExt cx="868457" cy="867509"/>
            </a:xfrm>
            <a:grpFill/>
          </p:grpSpPr>
          <p:sp>
            <p:nvSpPr>
              <p:cNvPr id="80" name="Freeform 79">
                <a:extLst>
                  <a:ext uri="{FF2B5EF4-FFF2-40B4-BE49-F238E27FC236}">
                    <a16:creationId xmlns:a16="http://schemas.microsoft.com/office/drawing/2014/main" id="{750E8D92-DF72-B2B7-6F8F-EB5DB60A287F}"/>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1" name="Freeform 80">
                <a:extLst>
                  <a:ext uri="{FF2B5EF4-FFF2-40B4-BE49-F238E27FC236}">
                    <a16:creationId xmlns:a16="http://schemas.microsoft.com/office/drawing/2014/main" id="{9983B1D8-B7E8-8B51-DEB6-7CF8D0553B43}"/>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2" name="Freeform 81">
                <a:extLst>
                  <a:ext uri="{FF2B5EF4-FFF2-40B4-BE49-F238E27FC236}">
                    <a16:creationId xmlns:a16="http://schemas.microsoft.com/office/drawing/2014/main" id="{BEE67B63-F289-8708-C6D8-2FB2EF4628AB}"/>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3" name="Freeform 82">
                <a:extLst>
                  <a:ext uri="{FF2B5EF4-FFF2-40B4-BE49-F238E27FC236}">
                    <a16:creationId xmlns:a16="http://schemas.microsoft.com/office/drawing/2014/main" id="{47A64FBC-147B-055E-CB24-45C8F462DC2A}"/>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4" name="Freeform 83">
                <a:extLst>
                  <a:ext uri="{FF2B5EF4-FFF2-40B4-BE49-F238E27FC236}">
                    <a16:creationId xmlns:a16="http://schemas.microsoft.com/office/drawing/2014/main" id="{83D05E3C-9E28-747C-5735-0D6321C270AE}"/>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pic>
        <p:nvPicPr>
          <p:cNvPr id="3" name="Graphic 2" descr="Arrow: Straight with solid fill">
            <a:extLst>
              <a:ext uri="{FF2B5EF4-FFF2-40B4-BE49-F238E27FC236}">
                <a16:creationId xmlns:a16="http://schemas.microsoft.com/office/drawing/2014/main" id="{2DED0385-A3E4-AD05-DC9C-B9595A76B6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3752771" y="5469099"/>
            <a:ext cx="870513" cy="870513"/>
          </a:xfrm>
          <a:prstGeom prst="rect">
            <a:avLst/>
          </a:prstGeom>
        </p:spPr>
      </p:pic>
    </p:spTree>
    <p:extLst>
      <p:ext uri="{BB962C8B-B14F-4D97-AF65-F5344CB8AC3E}">
        <p14:creationId xmlns:p14="http://schemas.microsoft.com/office/powerpoint/2010/main" val="29145139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3 </a:t>
            </a:r>
            <a:r>
              <a:rPr lang="el-GR" sz="4000" dirty="0">
                <a:solidFill>
                  <a:schemeClr val="bg1"/>
                </a:solidFill>
              </a:rPr>
              <a:t>   	</a:t>
            </a:r>
            <a:r>
              <a:rPr lang="en-US" sz="3400" dirty="0" err="1">
                <a:solidFill>
                  <a:schemeClr val="bg1"/>
                </a:solidFill>
              </a:rPr>
              <a:t>Προσδιορισμός</a:t>
            </a:r>
            <a:r>
              <a:rPr lang="en-US" sz="3400" dirty="0">
                <a:solidFill>
                  <a:schemeClr val="bg1"/>
                </a:solidFill>
              </a:rPr>
              <a:t> βασικών ενδιαφερομένων μερών &amp; </a:t>
            </a:r>
            <a:r>
              <a:rPr lang="el-GR" sz="3400" dirty="0">
                <a:solidFill>
                  <a:schemeClr val="bg1"/>
                </a:solidFill>
              </a:rPr>
              <a:t>	</a:t>
            </a:r>
            <a:r>
              <a:rPr lang="en-US" sz="3400" dirty="0" err="1">
                <a:solidFill>
                  <a:schemeClr val="bg1"/>
                </a:solidFill>
              </a:rPr>
              <a:t>δι</a:t>
            </a:r>
            <a:r>
              <a:rPr lang="en-US" sz="3400" dirty="0">
                <a:solidFill>
                  <a:schemeClr val="bg1"/>
                </a:solidFill>
              </a:rPr>
              <a:t>αχείριση σχέσεων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515605" y="1779604"/>
            <a:ext cx="3758144" cy="5262184"/>
          </a:xfrm>
        </p:spPr>
        <p:txBody>
          <a:bodyPr>
            <a:normAutofit fontScale="32500" lnSpcReduction="20000"/>
          </a:bodyPr>
          <a:lstStyle/>
          <a:p>
            <a:pPr marL="12700" indent="-12700">
              <a:lnSpc>
                <a:spcPct val="120000"/>
              </a:lnSpc>
            </a:pPr>
            <a:r>
              <a:rPr lang="en-GB" sz="4900" dirty="0">
                <a:latin typeface="Calibri" panose="020F0502020204030204" pitchFamily="34" charset="0"/>
                <a:ea typeface="Lato Light" panose="020F0502020204030203" pitchFamily="34" charset="0"/>
                <a:cs typeface="Calibri" panose="020F0502020204030204" pitchFamily="34" charset="0"/>
              </a:rPr>
              <a:t>Η διαχείριση των ενδιαφερομένων μερών χρησιμεύει στον εντοπισμό των αναγκών και των συμφερόντων των σημαντικότερων ομάδων συμφερόντων σας, προκειμένου να αποτρέψετε κινδύνους και να ελαχιστοποιήσετε τους κινδύνους. Μέσω της διαχείρισης των ενδιαφερομένων μερών θα πρέπει να ενισχύονται οι θετικές επιρροές και να ελαχιστοποιούνται οι αρνητικές. </a:t>
            </a:r>
          </a:p>
          <a:p>
            <a:pPr marL="12700" indent="-12700">
              <a:lnSpc>
                <a:spcPct val="120000"/>
              </a:lnSpc>
            </a:pPr>
            <a:r>
              <a:rPr lang="en-GB" sz="4900" dirty="0">
                <a:latin typeface="Calibri" panose="020F0502020204030204" pitchFamily="34" charset="0"/>
                <a:ea typeface="Lato Light" panose="020F0502020204030203" pitchFamily="34" charset="0"/>
                <a:cs typeface="Calibri" panose="020F0502020204030204" pitchFamily="34" charset="0"/>
              </a:rPr>
              <a:t>Η διαχείριση των ενδιαφερομένων μερών δεν είναι μια εφάπαξ ανάλυση, αλλά πρέπει να διεξάγεται συστηματικά και συνεχώς. Αυτή η σάρωση είναι χρήσιμη για να προσδιοριστεί ποιος πρέπει να εμπλακεί. </a:t>
            </a:r>
          </a:p>
          <a:p>
            <a:pPr marL="12700" indent="-12700"/>
            <a:endParaRPr lang="en-GB" dirty="0">
              <a:latin typeface="Calibri" panose="020F0502020204030204" pitchFamily="34" charset="0"/>
              <a:ea typeface="Lato Light" panose="020F0502020204030203" pitchFamily="34" charset="0"/>
              <a:cs typeface="Calibri" panose="020F0502020204030204" pitchFamily="34" charset="0"/>
            </a:endParaRP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529758"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99" name="Straight Connector 21">
            <a:extLst>
              <a:ext uri="{FF2B5EF4-FFF2-40B4-BE49-F238E27FC236}">
                <a16:creationId xmlns:a16="http://schemas.microsoft.com/office/drawing/2014/main" id="{E097A8D9-BA93-945B-BF6C-7F3FE7032FE8}"/>
              </a:ext>
            </a:extLst>
          </p:cNvPr>
          <p:cNvCxnSpPr>
            <a:cxnSpLocks/>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a:cxnSpLocks/>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751534"/>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2" name="Subtitle 2">
            <a:extLst>
              <a:ext uri="{FF2B5EF4-FFF2-40B4-BE49-F238E27FC236}">
                <a16:creationId xmlns:a16="http://schemas.microsoft.com/office/drawing/2014/main" id="{CEC57D95-A2AD-2D92-4208-E7E7C1CC89D8}"/>
              </a:ext>
            </a:extLst>
          </p:cNvPr>
          <p:cNvSpPr txBox="1">
            <a:spLocks/>
          </p:cNvSpPr>
          <p:nvPr/>
        </p:nvSpPr>
        <p:spPr>
          <a:xfrm>
            <a:off x="10508529" y="2582469"/>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Οργανισμοί μέσων ενημέρωσης</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Social Media</a:t>
            </a: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r>
              <a:rPr lang="en-GB" sz="1600" b="1" dirty="0">
                <a:solidFill>
                  <a:srgbClr val="245473"/>
                </a:solidFill>
                <a:ea typeface="League Spartan" charset="0"/>
                <a:cs typeface="Poppins" pitchFamily="2" charset="77"/>
              </a:rPr>
              <a:t>Μέσα ενημέρωσης</a:t>
            </a:r>
          </a:p>
        </p:txBody>
      </p:sp>
      <p:sp>
        <p:nvSpPr>
          <p:cNvPr id="114" name="Subtitle 2">
            <a:extLst>
              <a:ext uri="{FF2B5EF4-FFF2-40B4-BE49-F238E27FC236}">
                <a16:creationId xmlns:a16="http://schemas.microsoft.com/office/drawing/2014/main" id="{59C8F845-5784-C2F1-C8B1-7FB561CFED15}"/>
              </a:ext>
            </a:extLst>
          </p:cNvPr>
          <p:cNvSpPr txBox="1">
            <a:spLocks/>
          </p:cNvSpPr>
          <p:nvPr/>
        </p:nvSpPr>
        <p:spPr>
          <a:xfrm>
            <a:off x="10492365" y="3769700"/>
            <a:ext cx="1683471" cy="106055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400" dirty="0">
                <a:solidFill>
                  <a:srgbClr val="595959"/>
                </a:solidFill>
                <a:latin typeface="+mn-lt"/>
                <a:ea typeface="Lato Light" panose="020F0502020204030203" pitchFamily="34" charset="0"/>
                <a:cs typeface="Mukta ExtraLight" panose="020B0000000000000000" pitchFamily="34" charset="77"/>
              </a:rPr>
              <a:t>Πανεπιστήμια</a:t>
            </a:r>
          </a:p>
          <a:p>
            <a:pPr marL="171450" indent="-171450" algn="l">
              <a:lnSpc>
                <a:spcPts val="1620"/>
              </a:lnSpc>
              <a:spcBef>
                <a:spcPts val="0"/>
              </a:spcBef>
              <a:buFont typeface="Arial" panose="020B0604020202020204" pitchFamily="34" charset="0"/>
              <a:buChar char="•"/>
            </a:pPr>
            <a:r>
              <a:rPr lang="en-GB" sz="1400" dirty="0">
                <a:solidFill>
                  <a:srgbClr val="595959"/>
                </a:solidFill>
                <a:latin typeface="+mn-lt"/>
                <a:ea typeface="Lato Light" panose="020F0502020204030203" pitchFamily="34" charset="0"/>
                <a:cs typeface="Mukta ExtraLight" panose="020B0000000000000000" pitchFamily="34" charset="77"/>
              </a:rPr>
              <a:t>Ερευνητικά Ινστιτούτα</a:t>
            </a:r>
          </a:p>
          <a:p>
            <a:pPr marL="171450" indent="-171450" algn="l">
              <a:lnSpc>
                <a:spcPts val="1620"/>
              </a:lnSpc>
              <a:spcBef>
                <a:spcPts val="0"/>
              </a:spcBef>
              <a:buFont typeface="Arial" panose="020B0604020202020204" pitchFamily="34" charset="0"/>
              <a:buChar char="•"/>
            </a:pPr>
            <a:r>
              <a:rPr lang="en-GB" sz="1400" dirty="0">
                <a:solidFill>
                  <a:srgbClr val="595959"/>
                </a:solidFill>
                <a:latin typeface="+mn-lt"/>
                <a:ea typeface="Lato Light" panose="020F0502020204030203" pitchFamily="34" charset="0"/>
                <a:cs typeface="Mukta ExtraLight" panose="020B0000000000000000" pitchFamily="34" charset="77"/>
              </a:rPr>
              <a:t>Γνώμες εμπειρογνωμόνων</a:t>
            </a: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r>
              <a:rPr lang="en-GB" sz="1600" b="1" dirty="0">
                <a:solidFill>
                  <a:srgbClr val="7F1C58"/>
                </a:solidFill>
                <a:ea typeface="League Spartan" charset="0"/>
                <a:cs typeface="Poppins" pitchFamily="2" charset="77"/>
              </a:rPr>
              <a:t>Επιστήμη</a:t>
            </a:r>
          </a:p>
        </p:txBody>
      </p:sp>
      <p:sp>
        <p:nvSpPr>
          <p:cNvPr id="116" name="Subtitle 2">
            <a:extLst>
              <a:ext uri="{FF2B5EF4-FFF2-40B4-BE49-F238E27FC236}">
                <a16:creationId xmlns:a16="http://schemas.microsoft.com/office/drawing/2014/main" id="{85390968-577F-90B9-059D-6ECE91507E0F}"/>
              </a:ext>
            </a:extLst>
          </p:cNvPr>
          <p:cNvSpPr txBox="1">
            <a:spLocks/>
          </p:cNvSpPr>
          <p:nvPr/>
        </p:nvSpPr>
        <p:spPr>
          <a:xfrm>
            <a:off x="10492365" y="5079675"/>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Κυβέρνηση &amp; Δήμοι</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Άλλες αρχές</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r>
              <a:rPr lang="en-GB" sz="1600" b="1" dirty="0">
                <a:solidFill>
                  <a:srgbClr val="B41F7A"/>
                </a:solidFill>
                <a:ea typeface="League Spartan" charset="0"/>
                <a:cs typeface="Poppins" pitchFamily="2" charset="77"/>
              </a:rPr>
              <a:t>Πολιτική</a:t>
            </a:r>
          </a:p>
        </p:txBody>
      </p:sp>
      <p:sp>
        <p:nvSpPr>
          <p:cNvPr id="118" name="Subtitle 2">
            <a:extLst>
              <a:ext uri="{FF2B5EF4-FFF2-40B4-BE49-F238E27FC236}">
                <a16:creationId xmlns:a16="http://schemas.microsoft.com/office/drawing/2014/main" id="{5E2F4A70-A096-FA04-9588-370E7682D230}"/>
              </a:ext>
            </a:extLst>
          </p:cNvPr>
          <p:cNvSpPr txBox="1">
            <a:spLocks/>
          </p:cNvSpPr>
          <p:nvPr/>
        </p:nvSpPr>
        <p:spPr>
          <a:xfrm>
            <a:off x="5545005" y="2521012"/>
            <a:ext cx="1733404" cy="10634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Κάτοικοι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Πολιτιστικά ιδρύματα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Ενώσεις</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Ομάδες πίεσης</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489739" y="2181052"/>
            <a:ext cx="798808" cy="338554"/>
          </a:xfrm>
          <a:prstGeom prst="rect">
            <a:avLst/>
          </a:prstGeom>
          <a:noFill/>
        </p:spPr>
        <p:txBody>
          <a:bodyPr wrap="none" rtlCol="0" anchor="t" anchorCtr="0">
            <a:spAutoFit/>
          </a:bodyPr>
          <a:lstStyle/>
          <a:p>
            <a:pPr algn="r"/>
            <a:r>
              <a:rPr lang="en-GB" sz="1600" b="1" dirty="0">
                <a:solidFill>
                  <a:srgbClr val="B41F7A"/>
                </a:solidFill>
                <a:ea typeface="League Spartan" charset="0"/>
                <a:cs typeface="Poppins" pitchFamily="2" charset="77"/>
              </a:rPr>
              <a:t>Κοινωνία</a:t>
            </a:r>
          </a:p>
        </p:txBody>
      </p:sp>
      <p:sp>
        <p:nvSpPr>
          <p:cNvPr id="120" name="Subtitle 2">
            <a:extLst>
              <a:ext uri="{FF2B5EF4-FFF2-40B4-BE49-F238E27FC236}">
                <a16:creationId xmlns:a16="http://schemas.microsoft.com/office/drawing/2014/main" id="{953E8046-F532-48CF-8C27-7785D6471DAC}"/>
              </a:ext>
            </a:extLst>
          </p:cNvPr>
          <p:cNvSpPr txBox="1">
            <a:spLocks/>
          </p:cNvSpPr>
          <p:nvPr/>
        </p:nvSpPr>
        <p:spPr>
          <a:xfrm>
            <a:off x="5494197" y="3938171"/>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Ανταγωνιστές</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Προμηθευτές</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Πάροχοι υπηρεσιών</a:t>
            </a:r>
          </a:p>
        </p:txBody>
      </p:sp>
      <p:sp>
        <p:nvSpPr>
          <p:cNvPr id="121" name="TextBox 120">
            <a:extLst>
              <a:ext uri="{FF2B5EF4-FFF2-40B4-BE49-F238E27FC236}">
                <a16:creationId xmlns:a16="http://schemas.microsoft.com/office/drawing/2014/main" id="{68499D3F-92D1-ACD1-351E-94FF23C805D1}"/>
              </a:ext>
            </a:extLst>
          </p:cNvPr>
          <p:cNvSpPr txBox="1"/>
          <p:nvPr/>
        </p:nvSpPr>
        <p:spPr>
          <a:xfrm>
            <a:off x="5483105" y="3651860"/>
            <a:ext cx="893386" cy="338554"/>
          </a:xfrm>
          <a:prstGeom prst="rect">
            <a:avLst/>
          </a:prstGeom>
          <a:noFill/>
        </p:spPr>
        <p:txBody>
          <a:bodyPr wrap="none" rtlCol="0" anchor="t" anchorCtr="0">
            <a:spAutoFit/>
          </a:bodyPr>
          <a:lstStyle/>
          <a:p>
            <a:pPr algn="r"/>
            <a:r>
              <a:rPr lang="en-GB" sz="1600" b="1" dirty="0">
                <a:solidFill>
                  <a:srgbClr val="245473"/>
                </a:solidFill>
                <a:ea typeface="League Spartan" charset="0"/>
                <a:cs typeface="Poppins" pitchFamily="2" charset="77"/>
              </a:rPr>
              <a:t>Βιομηχανία</a:t>
            </a:r>
          </a:p>
        </p:txBody>
      </p:sp>
      <p:sp>
        <p:nvSpPr>
          <p:cNvPr id="122" name="Subtitle 2">
            <a:extLst>
              <a:ext uri="{FF2B5EF4-FFF2-40B4-BE49-F238E27FC236}">
                <a16:creationId xmlns:a16="http://schemas.microsoft.com/office/drawing/2014/main" id="{F7AF8FD1-A002-1C03-EF97-D02A0247BAA7}"/>
              </a:ext>
            </a:extLst>
          </p:cNvPr>
          <p:cNvSpPr txBox="1">
            <a:spLocks/>
          </p:cNvSpPr>
          <p:nvPr/>
        </p:nvSpPr>
        <p:spPr>
          <a:xfrm>
            <a:off x="5526351" y="5068157"/>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Εταιρεία</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Τράπεζες</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Άλλοι χρηματοδότες</a:t>
            </a:r>
          </a:p>
        </p:txBody>
      </p:sp>
      <p:sp>
        <p:nvSpPr>
          <p:cNvPr id="123" name="TextBox 122">
            <a:extLst>
              <a:ext uri="{FF2B5EF4-FFF2-40B4-BE49-F238E27FC236}">
                <a16:creationId xmlns:a16="http://schemas.microsoft.com/office/drawing/2014/main" id="{97B799D6-AA59-5876-5374-F3D64129E4B7}"/>
              </a:ext>
            </a:extLst>
          </p:cNvPr>
          <p:cNvSpPr txBox="1"/>
          <p:nvPr/>
        </p:nvSpPr>
        <p:spPr>
          <a:xfrm>
            <a:off x="5447500" y="4767685"/>
            <a:ext cx="1042978" cy="338554"/>
          </a:xfrm>
          <a:prstGeom prst="rect">
            <a:avLst/>
          </a:prstGeom>
          <a:noFill/>
        </p:spPr>
        <p:txBody>
          <a:bodyPr wrap="none" rtlCol="0" anchor="t" anchorCtr="0">
            <a:spAutoFit/>
          </a:bodyPr>
          <a:lstStyle/>
          <a:p>
            <a:pPr algn="r"/>
            <a:r>
              <a:rPr lang="en-GB" sz="1600" b="1" dirty="0">
                <a:solidFill>
                  <a:srgbClr val="EDA13E"/>
                </a:solidFill>
                <a:ea typeface="League Spartan" charset="0"/>
                <a:cs typeface="Poppins" pitchFamily="2" charset="77"/>
              </a:rPr>
              <a:t>Financiers</a:t>
            </a:r>
          </a:p>
        </p:txBody>
      </p:sp>
      <p:sp>
        <p:nvSpPr>
          <p:cNvPr id="124" name="Fünfeck 2">
            <a:extLst>
              <a:ext uri="{FF2B5EF4-FFF2-40B4-BE49-F238E27FC236}">
                <a16:creationId xmlns:a16="http://schemas.microsoft.com/office/drawing/2014/main" id="{10266DC1-FECD-0DB1-E7CA-04CC894ED1A7}"/>
              </a:ext>
            </a:extLst>
          </p:cNvPr>
          <p:cNvSpPr/>
          <p:nvPr/>
        </p:nvSpPr>
        <p:spPr>
          <a:xfrm>
            <a:off x="8027303" y="3211700"/>
            <a:ext cx="1042444" cy="882269"/>
          </a:xfrm>
          <a:prstGeom prst="pent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25" name="TextBox 29">
            <a:extLst>
              <a:ext uri="{FF2B5EF4-FFF2-40B4-BE49-F238E27FC236}">
                <a16:creationId xmlns:a16="http://schemas.microsoft.com/office/drawing/2014/main" id="{283FCEDC-A23D-9622-5C19-22A964129890}"/>
              </a:ext>
            </a:extLst>
          </p:cNvPr>
          <p:cNvSpPr txBox="1"/>
          <p:nvPr/>
        </p:nvSpPr>
        <p:spPr>
          <a:xfrm>
            <a:off x="8002076" y="3491617"/>
            <a:ext cx="1075936" cy="307777"/>
          </a:xfrm>
          <a:prstGeom prst="rect">
            <a:avLst/>
          </a:prstGeom>
          <a:noFill/>
        </p:spPr>
        <p:txBody>
          <a:bodyPr wrap="none" rtlCol="0" anchor="t" anchorCtr="0">
            <a:spAutoFit/>
          </a:bodyPr>
          <a:lstStyle/>
          <a:p>
            <a:r>
              <a:rPr lang="en-GB" sz="1400" b="1" dirty="0">
                <a:solidFill>
                  <a:schemeClr val="bg1"/>
                </a:solidFill>
                <a:latin typeface="+mj-lt"/>
                <a:ea typeface="League Spartan" charset="0"/>
                <a:cs typeface="Poppins" pitchFamily="2" charset="77"/>
              </a:rPr>
              <a:t>Εργαζόμενοι</a:t>
            </a:r>
          </a:p>
        </p:txBody>
      </p:sp>
      <p:sp>
        <p:nvSpPr>
          <p:cNvPr id="126" name="Shape 27">
            <a:extLst>
              <a:ext uri="{FF2B5EF4-FFF2-40B4-BE49-F238E27FC236}">
                <a16:creationId xmlns:a16="http://schemas.microsoft.com/office/drawing/2014/main" id="{6DD2D7E0-E4C1-F352-B42A-C1005B25F0D9}"/>
              </a:ext>
            </a:extLst>
          </p:cNvPr>
          <p:cNvSpPr/>
          <p:nvPr/>
        </p:nvSpPr>
        <p:spPr>
          <a:xfrm>
            <a:off x="8407468" y="3884489"/>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27" name="Subtitle 2">
            <a:extLst>
              <a:ext uri="{FF2B5EF4-FFF2-40B4-BE49-F238E27FC236}">
                <a16:creationId xmlns:a16="http://schemas.microsoft.com/office/drawing/2014/main" id="{5B47FB10-6FD5-2EE8-7213-2789C9118EBF}"/>
              </a:ext>
            </a:extLst>
          </p:cNvPr>
          <p:cNvSpPr txBox="1">
            <a:spLocks/>
          </p:cNvSpPr>
          <p:nvPr/>
        </p:nvSpPr>
        <p:spPr>
          <a:xfrm>
            <a:off x="7144651" y="5794116"/>
            <a:ext cx="1683471" cy="6178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Άμεση / Έμμεση</a:t>
            </a:r>
          </a:p>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Συμβούλιο Εργασίας</a:t>
            </a:r>
          </a:p>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Μονάδες εργασίας</a:t>
            </a:r>
          </a:p>
        </p:txBody>
      </p:sp>
      <p:sp>
        <p:nvSpPr>
          <p:cNvPr id="128" name="TextBox 40">
            <a:extLst>
              <a:ext uri="{FF2B5EF4-FFF2-40B4-BE49-F238E27FC236}">
                <a16:creationId xmlns:a16="http://schemas.microsoft.com/office/drawing/2014/main" id="{CB170EFA-DEA5-57C7-35F9-5FB782EC5EC8}"/>
              </a:ext>
            </a:extLst>
          </p:cNvPr>
          <p:cNvSpPr txBox="1"/>
          <p:nvPr/>
        </p:nvSpPr>
        <p:spPr>
          <a:xfrm>
            <a:off x="7191324" y="5503819"/>
            <a:ext cx="1102867" cy="338554"/>
          </a:xfrm>
          <a:prstGeom prst="rect">
            <a:avLst/>
          </a:prstGeom>
          <a:noFill/>
        </p:spPr>
        <p:txBody>
          <a:bodyPr wrap="none" rtlCol="0" anchor="t" anchorCtr="0">
            <a:spAutoFit/>
          </a:bodyPr>
          <a:lstStyle/>
          <a:p>
            <a:pPr algn="r"/>
            <a:r>
              <a:rPr lang="en-GB" sz="1600" b="1" dirty="0">
                <a:solidFill>
                  <a:srgbClr val="F16924"/>
                </a:solidFill>
                <a:ea typeface="League Spartan" charset="0"/>
                <a:cs typeface="Poppins" pitchFamily="2" charset="77"/>
              </a:rPr>
              <a:t>Εργαζόμενοι</a:t>
            </a:r>
          </a:p>
        </p:txBody>
      </p:sp>
      <p:pic>
        <p:nvPicPr>
          <p:cNvPr id="129" name="Slika 6">
            <a:extLst>
              <a:ext uri="{FF2B5EF4-FFF2-40B4-BE49-F238E27FC236}">
                <a16:creationId xmlns:a16="http://schemas.microsoft.com/office/drawing/2014/main" id="{A0C74014-945E-B137-B152-F67C6951E734}"/>
              </a:ext>
            </a:extLst>
          </p:cNvPr>
          <p:cNvPicPr>
            <a:picLocks noChangeAspect="1"/>
          </p:cNvPicPr>
          <p:nvPr/>
        </p:nvPicPr>
        <p:blipFill>
          <a:blip r:embed="rId2"/>
          <a:stretch>
            <a:fillRect/>
          </a:stretch>
        </p:blipFill>
        <p:spPr>
          <a:xfrm>
            <a:off x="9047254" y="6046794"/>
            <a:ext cx="3040012" cy="586791"/>
          </a:xfrm>
          <a:prstGeom prst="rect">
            <a:avLst/>
          </a:prstGeom>
        </p:spPr>
      </p:pic>
    </p:spTree>
    <p:extLst>
      <p:ext uri="{BB962C8B-B14F-4D97-AF65-F5344CB8AC3E}">
        <p14:creationId xmlns:p14="http://schemas.microsoft.com/office/powerpoint/2010/main" val="24653909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3 </a:t>
            </a:r>
            <a:r>
              <a:rPr lang="el-GR" sz="4000" dirty="0">
                <a:solidFill>
                  <a:schemeClr val="bg1"/>
                </a:solidFill>
              </a:rPr>
              <a:t>   	</a:t>
            </a:r>
            <a:r>
              <a:rPr lang="en-US" sz="3400" dirty="0" err="1">
                <a:solidFill>
                  <a:schemeClr val="bg1"/>
                </a:solidFill>
              </a:rPr>
              <a:t>Προσδιορισμός</a:t>
            </a:r>
            <a:r>
              <a:rPr lang="en-US" sz="3400" dirty="0">
                <a:solidFill>
                  <a:schemeClr val="bg1"/>
                </a:solidFill>
              </a:rPr>
              <a:t> βασικών ενδιαφερομένων μερών &amp; </a:t>
            </a:r>
            <a:r>
              <a:rPr lang="el-GR" sz="3400" dirty="0">
                <a:solidFill>
                  <a:schemeClr val="bg1"/>
                </a:solidFill>
              </a:rPr>
              <a:t>	</a:t>
            </a:r>
            <a:r>
              <a:rPr lang="en-US" sz="3400" dirty="0" err="1">
                <a:solidFill>
                  <a:schemeClr val="bg1"/>
                </a:solidFill>
              </a:rPr>
              <a:t>δι</a:t>
            </a:r>
            <a:r>
              <a:rPr lang="en-US" sz="3400" dirty="0">
                <a:solidFill>
                  <a:schemeClr val="bg1"/>
                </a:solidFill>
              </a:rPr>
              <a:t>αχείριση σχέσεων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515605" y="1947242"/>
            <a:ext cx="3758144" cy="5262184"/>
          </a:xfrm>
        </p:spPr>
        <p:txBody>
          <a:bodyPr>
            <a:normAutofit/>
          </a:bodyPr>
          <a:lstStyle/>
          <a:p>
            <a:pPr marL="12700" indent="-12700">
              <a:lnSpc>
                <a:spcPct val="100000"/>
              </a:lnSpc>
            </a:pPr>
            <a:r>
              <a:rPr lang="en-GB" b="1" dirty="0">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ΑΣΚΗΣΗ</a:t>
            </a:r>
          </a:p>
          <a:p>
            <a:pPr marL="12700" indent="-12700">
              <a:lnSpc>
                <a:spcPct val="100000"/>
              </a:lnSpc>
            </a:pPr>
            <a:endParaRPr lang="en-GB" b="1"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marL="12700" indent="-12700">
              <a:lnSpc>
                <a:spcPct val="100000"/>
              </a:lnSpc>
            </a:pPr>
            <a:r>
              <a:rPr lang="en-GB" dirty="0">
                <a:latin typeface="Calibri" panose="020F0502020204030204" pitchFamily="34" charset="0"/>
                <a:ea typeface="Lato Light" panose="020F0502020204030203" pitchFamily="34" charset="0"/>
                <a:cs typeface="Calibri" panose="020F0502020204030204" pitchFamily="34" charset="0"/>
              </a:rPr>
              <a:t>Τώρα, δημιουργήστε τη δική σας εκδοχή, αναφέροντας συγκεκριμένα ποιοι πρέπει να συμμετέχουν.</a:t>
            </a:r>
          </a:p>
          <a:p>
            <a:pPr marL="12700" indent="-12700">
              <a:lnSpc>
                <a:spcPct val="100000"/>
              </a:lnSpc>
            </a:pPr>
            <a:endParaRPr lang="en-GB" dirty="0">
              <a:latin typeface="Calibri" panose="020F0502020204030204" pitchFamily="34" charset="0"/>
              <a:ea typeface="Lato Light" panose="020F0502020204030203" pitchFamily="34" charset="0"/>
              <a:cs typeface="Calibri" panose="020F0502020204030204" pitchFamily="34" charset="0"/>
            </a:endParaRPr>
          </a:p>
          <a:p>
            <a:pPr marL="12700" indent="-12700">
              <a:lnSpc>
                <a:spcPct val="100000"/>
              </a:lnSpc>
            </a:pPr>
            <a:r>
              <a:rPr lang="el-GR" b="1" dirty="0">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ΚΑΤΕΒΑΣΤΕ</a:t>
            </a:r>
            <a:r>
              <a:rPr lang="en-GB" b="1" dirty="0">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 και ΧΡΗΣΙΜΟΠΟΙΗΣΤΕ ΤΟ </a:t>
            </a:r>
            <a:r>
              <a:rPr lang="el-GR" b="1" dirty="0">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ΠΡΟΤΥΠΟ</a:t>
            </a:r>
            <a:r>
              <a:rPr lang="en-GB" b="1" dirty="0">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 ΜΑΣ </a:t>
            </a:r>
          </a:p>
          <a:p>
            <a:pPr marL="12700" indent="-12700"/>
            <a:endParaRPr lang="en-GB" dirty="0">
              <a:latin typeface="Calibri" panose="020F0502020204030204" pitchFamily="34" charset="0"/>
              <a:ea typeface="Lato Light" panose="020F0502020204030203" pitchFamily="34" charset="0"/>
              <a:cs typeface="Calibri" panose="020F0502020204030204" pitchFamily="34" charset="0"/>
            </a:endParaRP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529758"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2" name="Group 1">
            <a:extLst>
              <a:ext uri="{FF2B5EF4-FFF2-40B4-BE49-F238E27FC236}">
                <a16:creationId xmlns:a16="http://schemas.microsoft.com/office/drawing/2014/main" id="{F3616EEE-7724-B313-0A33-0CE0E6DF6B54}"/>
              </a:ext>
            </a:extLst>
          </p:cNvPr>
          <p:cNvGrpSpPr/>
          <p:nvPr/>
        </p:nvGrpSpPr>
        <p:grpSpPr>
          <a:xfrm>
            <a:off x="5447500" y="2015657"/>
            <a:ext cx="5886600" cy="3826716"/>
            <a:chOff x="5447500" y="2015657"/>
            <a:chExt cx="5886600" cy="3826716"/>
          </a:xfrm>
        </p:grpSpPr>
        <p:cxnSp>
          <p:nvCxnSpPr>
            <p:cNvPr id="99" name="Straight Connector 21">
              <a:extLst>
                <a:ext uri="{FF2B5EF4-FFF2-40B4-BE49-F238E27FC236}">
                  <a16:creationId xmlns:a16="http://schemas.microsoft.com/office/drawing/2014/main" id="{E097A8D9-BA93-945B-BF6C-7F3FE7032FE8}"/>
                </a:ext>
              </a:extLst>
            </p:cNvPr>
            <p:cNvCxnSpPr>
              <a:cxnSpLocks/>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a:cxnSpLocks/>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751534"/>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r>
                <a:rPr lang="en-GB" sz="1600" b="1" dirty="0">
                  <a:solidFill>
                    <a:srgbClr val="245473"/>
                  </a:solidFill>
                  <a:ea typeface="League Spartan" charset="0"/>
                  <a:cs typeface="Poppins" pitchFamily="2" charset="77"/>
                </a:rPr>
                <a:t>Μέσα ενημέρωσης</a:t>
              </a: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r>
                <a:rPr lang="en-GB" sz="1600" b="1" dirty="0">
                  <a:solidFill>
                    <a:srgbClr val="7F1C58"/>
                  </a:solidFill>
                  <a:ea typeface="League Spartan" charset="0"/>
                  <a:cs typeface="Poppins" pitchFamily="2" charset="77"/>
                </a:rPr>
                <a:t>Επιστήμη</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r>
                <a:rPr lang="en-GB" sz="1600" b="1" dirty="0">
                  <a:solidFill>
                    <a:srgbClr val="B41F7A"/>
                  </a:solidFill>
                  <a:ea typeface="League Spartan" charset="0"/>
                  <a:cs typeface="Poppins" pitchFamily="2" charset="77"/>
                </a:rPr>
                <a:t>Πολιτική</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489739" y="2170320"/>
              <a:ext cx="798808" cy="338554"/>
            </a:xfrm>
            <a:prstGeom prst="rect">
              <a:avLst/>
            </a:prstGeom>
            <a:noFill/>
          </p:spPr>
          <p:txBody>
            <a:bodyPr wrap="none" rtlCol="0" anchor="t" anchorCtr="0">
              <a:spAutoFit/>
            </a:bodyPr>
            <a:lstStyle/>
            <a:p>
              <a:pPr algn="r"/>
              <a:r>
                <a:rPr lang="en-GB" sz="1600" b="1" dirty="0">
                  <a:solidFill>
                    <a:srgbClr val="B41F7A"/>
                  </a:solidFill>
                  <a:ea typeface="League Spartan" charset="0"/>
                  <a:cs typeface="Poppins" pitchFamily="2" charset="77"/>
                </a:rPr>
                <a:t>Κοινωνία</a:t>
              </a:r>
            </a:p>
          </p:txBody>
        </p:sp>
        <p:sp>
          <p:nvSpPr>
            <p:cNvPr id="121" name="TextBox 120">
              <a:extLst>
                <a:ext uri="{FF2B5EF4-FFF2-40B4-BE49-F238E27FC236}">
                  <a16:creationId xmlns:a16="http://schemas.microsoft.com/office/drawing/2014/main" id="{68499D3F-92D1-ACD1-351E-94FF23C805D1}"/>
                </a:ext>
              </a:extLst>
            </p:cNvPr>
            <p:cNvSpPr txBox="1"/>
            <p:nvPr/>
          </p:nvSpPr>
          <p:spPr>
            <a:xfrm>
              <a:off x="5483105" y="3651860"/>
              <a:ext cx="893386" cy="338554"/>
            </a:xfrm>
            <a:prstGeom prst="rect">
              <a:avLst/>
            </a:prstGeom>
            <a:noFill/>
          </p:spPr>
          <p:txBody>
            <a:bodyPr wrap="none" rtlCol="0" anchor="t" anchorCtr="0">
              <a:spAutoFit/>
            </a:bodyPr>
            <a:lstStyle/>
            <a:p>
              <a:pPr algn="r"/>
              <a:r>
                <a:rPr lang="en-GB" sz="1600" b="1" dirty="0">
                  <a:solidFill>
                    <a:srgbClr val="245473"/>
                  </a:solidFill>
                  <a:ea typeface="League Spartan" charset="0"/>
                  <a:cs typeface="Poppins" pitchFamily="2" charset="77"/>
                </a:rPr>
                <a:t>Βιομηχανία</a:t>
              </a:r>
            </a:p>
          </p:txBody>
        </p:sp>
        <p:sp>
          <p:nvSpPr>
            <p:cNvPr id="123" name="TextBox 122">
              <a:extLst>
                <a:ext uri="{FF2B5EF4-FFF2-40B4-BE49-F238E27FC236}">
                  <a16:creationId xmlns:a16="http://schemas.microsoft.com/office/drawing/2014/main" id="{97B799D6-AA59-5876-5374-F3D64129E4B7}"/>
                </a:ext>
              </a:extLst>
            </p:cNvPr>
            <p:cNvSpPr txBox="1"/>
            <p:nvPr/>
          </p:nvSpPr>
          <p:spPr>
            <a:xfrm>
              <a:off x="5447500" y="4767685"/>
              <a:ext cx="1042978" cy="338554"/>
            </a:xfrm>
            <a:prstGeom prst="rect">
              <a:avLst/>
            </a:prstGeom>
            <a:noFill/>
          </p:spPr>
          <p:txBody>
            <a:bodyPr wrap="none" rtlCol="0" anchor="t" anchorCtr="0">
              <a:spAutoFit/>
            </a:bodyPr>
            <a:lstStyle/>
            <a:p>
              <a:pPr algn="r"/>
              <a:r>
                <a:rPr lang="en-GB" sz="1600" b="1" dirty="0">
                  <a:solidFill>
                    <a:srgbClr val="EDA13E"/>
                  </a:solidFill>
                  <a:ea typeface="League Spartan" charset="0"/>
                  <a:cs typeface="Poppins" pitchFamily="2" charset="77"/>
                </a:rPr>
                <a:t>Financiers</a:t>
              </a:r>
            </a:p>
          </p:txBody>
        </p:sp>
        <p:sp>
          <p:nvSpPr>
            <p:cNvPr id="124" name="Fünfeck 2">
              <a:extLst>
                <a:ext uri="{FF2B5EF4-FFF2-40B4-BE49-F238E27FC236}">
                  <a16:creationId xmlns:a16="http://schemas.microsoft.com/office/drawing/2014/main" id="{10266DC1-FECD-0DB1-E7CA-04CC894ED1A7}"/>
                </a:ext>
              </a:extLst>
            </p:cNvPr>
            <p:cNvSpPr/>
            <p:nvPr/>
          </p:nvSpPr>
          <p:spPr>
            <a:xfrm>
              <a:off x="8027303" y="3211700"/>
              <a:ext cx="1042444" cy="882269"/>
            </a:xfrm>
            <a:prstGeom prst="pent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25" name="TextBox 29">
              <a:extLst>
                <a:ext uri="{FF2B5EF4-FFF2-40B4-BE49-F238E27FC236}">
                  <a16:creationId xmlns:a16="http://schemas.microsoft.com/office/drawing/2014/main" id="{283FCEDC-A23D-9622-5C19-22A964129890}"/>
                </a:ext>
              </a:extLst>
            </p:cNvPr>
            <p:cNvSpPr txBox="1"/>
            <p:nvPr/>
          </p:nvSpPr>
          <p:spPr>
            <a:xfrm>
              <a:off x="8030651" y="3491617"/>
              <a:ext cx="1077218" cy="338554"/>
            </a:xfrm>
            <a:prstGeom prst="rect">
              <a:avLst/>
            </a:prstGeom>
            <a:noFill/>
          </p:spPr>
          <p:txBody>
            <a:bodyPr wrap="none" rtlCol="0" anchor="t" anchorCtr="0">
              <a:spAutoFit/>
            </a:bodyPr>
            <a:lstStyle/>
            <a:p>
              <a:r>
                <a:rPr lang="en-GB" sz="1600" b="1" dirty="0">
                  <a:solidFill>
                    <a:schemeClr val="bg1"/>
                  </a:solidFill>
                  <a:latin typeface="+mj-lt"/>
                  <a:ea typeface="League Spartan" charset="0"/>
                  <a:cs typeface="Poppins" pitchFamily="2" charset="77"/>
                </a:rPr>
                <a:t>Εργαζόμενοι</a:t>
              </a:r>
            </a:p>
          </p:txBody>
        </p:sp>
        <p:sp>
          <p:nvSpPr>
            <p:cNvPr id="126" name="Shape 27">
              <a:extLst>
                <a:ext uri="{FF2B5EF4-FFF2-40B4-BE49-F238E27FC236}">
                  <a16:creationId xmlns:a16="http://schemas.microsoft.com/office/drawing/2014/main" id="{6DD2D7E0-E4C1-F352-B42A-C1005B25F0D9}"/>
                </a:ext>
              </a:extLst>
            </p:cNvPr>
            <p:cNvSpPr/>
            <p:nvPr/>
          </p:nvSpPr>
          <p:spPr>
            <a:xfrm>
              <a:off x="8407468" y="3884489"/>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28" name="TextBox 40">
              <a:extLst>
                <a:ext uri="{FF2B5EF4-FFF2-40B4-BE49-F238E27FC236}">
                  <a16:creationId xmlns:a16="http://schemas.microsoft.com/office/drawing/2014/main" id="{CB170EFA-DEA5-57C7-35F9-5FB782EC5EC8}"/>
                </a:ext>
              </a:extLst>
            </p:cNvPr>
            <p:cNvSpPr txBox="1"/>
            <p:nvPr/>
          </p:nvSpPr>
          <p:spPr>
            <a:xfrm>
              <a:off x="7191324" y="5503819"/>
              <a:ext cx="1102867" cy="338554"/>
            </a:xfrm>
            <a:prstGeom prst="rect">
              <a:avLst/>
            </a:prstGeom>
            <a:noFill/>
          </p:spPr>
          <p:txBody>
            <a:bodyPr wrap="none" rtlCol="0" anchor="t" anchorCtr="0">
              <a:spAutoFit/>
            </a:bodyPr>
            <a:lstStyle/>
            <a:p>
              <a:pPr algn="r"/>
              <a:r>
                <a:rPr lang="en-GB" sz="1600" b="1" dirty="0">
                  <a:solidFill>
                    <a:srgbClr val="F16924"/>
                  </a:solidFill>
                  <a:ea typeface="League Spartan" charset="0"/>
                  <a:cs typeface="Poppins" pitchFamily="2" charset="77"/>
                </a:rPr>
                <a:t>Εργαζόμενοι</a:t>
              </a:r>
            </a:p>
          </p:txBody>
        </p:sp>
      </p:grpSp>
    </p:spTree>
    <p:extLst>
      <p:ext uri="{BB962C8B-B14F-4D97-AF65-F5344CB8AC3E}">
        <p14:creationId xmlns:p14="http://schemas.microsoft.com/office/powerpoint/2010/main" val="3102032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p:txBody>
          <a:bodyPr/>
          <a:lstStyle/>
          <a:p>
            <a:r>
              <a:rPr lang="en-US" sz="2400" dirty="0">
                <a:effectLst/>
                <a:latin typeface="Calibri" panose="020F0502020204030204" pitchFamily="34" charset="0"/>
                <a:ea typeface="Calibri" panose="020F0502020204030204" pitchFamily="34" charset="0"/>
                <a:cs typeface="Calibri" panose="020F0502020204030204" pitchFamily="34" charset="0"/>
              </a:rPr>
              <a:t>Τι </a:t>
            </a:r>
            <a:r>
              <a:rPr lang="en-US" sz="2400" dirty="0" err="1">
                <a:effectLst/>
                <a:latin typeface="Calibri" panose="020F0502020204030204" pitchFamily="34" charset="0"/>
                <a:ea typeface="Calibri" panose="020F0502020204030204" pitchFamily="34" charset="0"/>
                <a:cs typeface="Calibri" panose="020F0502020204030204" pitchFamily="34" charset="0"/>
              </a:rPr>
              <a:t>είν</a:t>
            </a:r>
            <a:r>
              <a:rPr lang="en-US" sz="2400" dirty="0">
                <a:effectLst/>
                <a:latin typeface="Calibri" panose="020F0502020204030204" pitchFamily="34" charset="0"/>
                <a:ea typeface="Calibri" panose="020F0502020204030204" pitchFamily="34" charset="0"/>
                <a:cs typeface="Calibri" panose="020F0502020204030204" pitchFamily="34" charset="0"/>
              </a:rPr>
              <a:t>αι </a:t>
            </a:r>
            <a:r>
              <a:rPr lang="el-GR" sz="2400" dirty="0">
                <a:latin typeface="Calibri" panose="020F0502020204030204" pitchFamily="34" charset="0"/>
                <a:ea typeface="Calibri" panose="020F0502020204030204" pitchFamily="34" charset="0"/>
                <a:cs typeface="Calibri" panose="020F0502020204030204" pitchFamily="34" charset="0"/>
              </a:rPr>
              <a:t>η</a:t>
            </a:r>
            <a:r>
              <a:rPr lang="en-US" sz="2400" dirty="0">
                <a:effectLst/>
                <a:latin typeface="Calibri" panose="020F0502020204030204" pitchFamily="34" charset="0"/>
                <a:ea typeface="Calibri" panose="020F0502020204030204" pitchFamily="34" charset="0"/>
                <a:cs typeface="Calibri" panose="020F0502020204030204" pitchFamily="34" charset="0"/>
              </a:rPr>
              <a:t> επιχειρηματική κρίση;</a:t>
            </a:r>
            <a:endParaRPr lang="en-US" dirty="0"/>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894860" y="1769362"/>
            <a:ext cx="5297139" cy="822373"/>
          </a:xfrm>
        </p:spPr>
        <p:txBody>
          <a:bodyPr/>
          <a:lstStyle/>
          <a:p>
            <a:pPr>
              <a:lnSpc>
                <a:spcPct val="100000"/>
              </a:lnSpc>
            </a:pPr>
            <a:r>
              <a:rPr lang="en-GB" sz="2000" dirty="0"/>
              <a:t>Η ζωτικής σημασίας διαδικασία της αναγνώρισης</a:t>
            </a:r>
            <a:endParaRPr lang="el-GR" sz="2000" dirty="0"/>
          </a:p>
          <a:p>
            <a:pPr>
              <a:lnSpc>
                <a:spcPct val="100000"/>
              </a:lnSpc>
            </a:pPr>
            <a:r>
              <a:rPr lang="en-GB" sz="1600" dirty="0"/>
              <a:t>Κα</a:t>
            </a:r>
            <a:r>
              <a:rPr lang="en-GB" sz="1600" dirty="0" err="1"/>
              <a:t>θορισμός</a:t>
            </a:r>
            <a:r>
              <a:rPr lang="en-GB" sz="1600" dirty="0"/>
              <a:t> των 5 σαφών σταδίων για την αναγνώριση μιας κρίσης</a:t>
            </a:r>
          </a:p>
          <a:p>
            <a:endParaRPr lang="en-US" dirty="0"/>
          </a:p>
        </p:txBody>
      </p:sp>
      <p:sp>
        <p:nvSpPr>
          <p:cNvPr id="21" name="Text Placeholder 20">
            <a:extLst>
              <a:ext uri="{FF2B5EF4-FFF2-40B4-BE49-F238E27FC236}">
                <a16:creationId xmlns:a16="http://schemas.microsoft.com/office/drawing/2014/main" id="{26F080BC-DC74-EB43-8DFA-6A8C1EDBECDD}"/>
              </a:ext>
            </a:extLst>
          </p:cNvPr>
          <p:cNvSpPr>
            <a:spLocks noGrp="1"/>
          </p:cNvSpPr>
          <p:nvPr>
            <p:ph type="body" sz="quarter" idx="22"/>
          </p:nvPr>
        </p:nvSpPr>
        <p:spPr/>
        <p:txBody>
          <a:bodyPr/>
          <a:lstStyle/>
          <a:p>
            <a:r>
              <a:rPr lang="en-US" sz="2400" dirty="0">
                <a:latin typeface="Calibri" panose="020F0502020204030204" pitchFamily="34" charset="0"/>
                <a:ea typeface="Calibri" panose="020F0502020204030204" pitchFamily="34" charset="0"/>
              </a:rPr>
              <a:t>Το χρονοδιάγραμμα μιας επιχειρηματικής κρίσης</a:t>
            </a:r>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26392" y="3715281"/>
            <a:ext cx="5107111" cy="822373"/>
          </a:xfrm>
        </p:spPr>
        <p:txBody>
          <a:bodyPr/>
          <a:lstStyle/>
          <a:p>
            <a:r>
              <a:rPr lang="el-GR" sz="2000" dirty="0"/>
              <a:t>Έλεγχος</a:t>
            </a:r>
            <a:r>
              <a:rPr lang="en-US" sz="2000" dirty="0"/>
              <a:t> για έγκαιρα προειδοποιητικά σημάδια:                 </a:t>
            </a:r>
            <a:endParaRPr lang="el-GR" sz="2000" dirty="0"/>
          </a:p>
          <a:p>
            <a:r>
              <a:rPr lang="en-US" sz="2000" dirty="0"/>
              <a:t>4 βασικοί τομείς </a:t>
            </a:r>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p:txBody>
          <a:bodyPr/>
          <a:lstStyle/>
          <a:p>
            <a:r>
              <a:rPr lang="en-US" sz="2400" dirty="0"/>
              <a:t>Επισκόπηση των 3 φάσεων της κρίσης των ΜΜΕ/επιχειρήσεων</a:t>
            </a: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78323" y="658730"/>
            <a:ext cx="830393" cy="635000"/>
          </a:xfrm>
        </p:spPr>
        <p:txBody>
          <a:bodyPr/>
          <a:lstStyle/>
          <a:p>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78323" y="1733356"/>
            <a:ext cx="830393" cy="635000"/>
          </a:xfrm>
        </p:spPr>
        <p:txBody>
          <a:bodyPr/>
          <a:lstStyle/>
          <a:p>
            <a:r>
              <a:rPr lang="en-US" sz="3600" b="1" dirty="0"/>
              <a:t>02</a:t>
            </a:r>
          </a:p>
        </p:txBody>
      </p:sp>
      <p:sp>
        <p:nvSpPr>
          <p:cNvPr id="5" name="Text Placeholder 4">
            <a:extLst>
              <a:ext uri="{FF2B5EF4-FFF2-40B4-BE49-F238E27FC236}">
                <a16:creationId xmlns:a16="http://schemas.microsoft.com/office/drawing/2014/main" id="{9D2849BF-4E96-B8A8-6A4F-171BBA77DB10}"/>
              </a:ext>
            </a:extLst>
          </p:cNvPr>
          <p:cNvSpPr>
            <a:spLocks noGrp="1"/>
          </p:cNvSpPr>
          <p:nvPr>
            <p:ph type="body" sz="quarter" idx="21"/>
          </p:nvPr>
        </p:nvSpPr>
        <p:spPr>
          <a:xfrm>
            <a:off x="6078323" y="2793120"/>
            <a:ext cx="830393" cy="635000"/>
          </a:xfrm>
        </p:spPr>
        <p:txBody>
          <a:bodyPr/>
          <a:lstStyle/>
          <a:p>
            <a:r>
              <a:rPr lang="en-US" sz="3600" b="1" dirty="0"/>
              <a:t>03</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64468" y="3772476"/>
            <a:ext cx="830393" cy="635000"/>
          </a:xfrm>
        </p:spPr>
        <p:txBody>
          <a:bodyPr/>
          <a:lstStyle/>
          <a:p>
            <a:r>
              <a:rPr lang="en-US" sz="3600" b="1" dirty="0"/>
              <a:t>04</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78323" y="4928608"/>
            <a:ext cx="830393" cy="635000"/>
          </a:xfrm>
        </p:spPr>
        <p:txBody>
          <a:bodyPr/>
          <a:lstStyle/>
          <a:p>
            <a:r>
              <a:rPr lang="en-US" sz="3600" b="1" dirty="0"/>
              <a:t>05</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918629" y="164123"/>
            <a:ext cx="4378451" cy="822373"/>
          </a:xfrm>
        </p:spPr>
        <p:txBody>
          <a:bodyPr>
            <a:normAutofit/>
          </a:bodyPr>
          <a:lstStyle/>
          <a:p>
            <a:r>
              <a:rPr lang="en-US" b="1" dirty="0">
                <a:latin typeface="Calibri" panose="020F0502020204030204" pitchFamily="34" charset="0"/>
                <a:ea typeface="Calibri" panose="020F0502020204030204" pitchFamily="34" charset="0"/>
                <a:cs typeface="Calibri" panose="020F0502020204030204" pitchFamily="34" charset="0"/>
              </a:rPr>
              <a:t>Τα βασικά</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18629" y="10062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a:xfrm>
            <a:off x="956478" y="1309137"/>
            <a:ext cx="4306395" cy="3280643"/>
          </a:xfrm>
        </p:spPr>
        <p:txBody>
          <a:bodyPr>
            <a:noAutofit/>
          </a:bodyPr>
          <a:lstStyle/>
          <a:p>
            <a:pPr marL="0" indent="0">
              <a:lnSpc>
                <a:spcPts val="2280"/>
              </a:lnSpc>
              <a:spcBef>
                <a:spcPts val="0"/>
              </a:spcBef>
            </a:pPr>
            <a:r>
              <a:rPr lang="en-US" sz="1800" dirty="0">
                <a:ea typeface="Calibri" panose="020F0502020204030204" pitchFamily="34" charset="0"/>
                <a:cs typeface="Times New Roman" panose="02020603050405020304" pitchFamily="18" charset="0"/>
              </a:rPr>
              <a:t>Δεδομένης της διαρκώς ταραγμένης οικονομικής, πολιτικής και περιβαλλοντικής δυναμικής μας, είναι σαφές ότι οι κρίσεις είναι αναπόφευκτες. Μια επιχειρηματική κρίση μπορεί να λάβει πολλές μορφές- </a:t>
            </a:r>
            <a:r>
              <a:rPr lang="en-GB" sz="1800" dirty="0">
                <a:ea typeface="Lato Light" panose="020F0502020204030203" pitchFamily="34" charset="0"/>
                <a:cs typeface="Lato Light" panose="020F0502020204030203" pitchFamily="34" charset="0"/>
              </a:rPr>
              <a:t>κάθε εταιρεία και κάθε εταιρική κρίση είναι διαφορετική) </a:t>
            </a:r>
            <a:r>
              <a:rPr lang="en-GB" sz="1800" dirty="0" err="1"/>
              <a:t>Ορισμένες </a:t>
            </a:r>
            <a:r>
              <a:rPr lang="en-GB" sz="1800" dirty="0"/>
              <a:t>είναι προσωρινές. Ορισμένες μπορεί να προκαλέσουν την καταστροφή μιας επιχείρησης.</a:t>
            </a:r>
          </a:p>
          <a:p>
            <a:pPr marL="0" indent="0" algn="just">
              <a:lnSpc>
                <a:spcPts val="2280"/>
              </a:lnSpc>
              <a:spcBef>
                <a:spcPts val="0"/>
              </a:spcBef>
            </a:pPr>
            <a:endParaRPr lang="en-US" sz="1800" dirty="0">
              <a:ea typeface="Calibri" panose="020F0502020204030204" pitchFamily="34" charset="0"/>
              <a:cs typeface="Times New Roman" panose="02020603050405020304" pitchFamily="18" charset="0"/>
            </a:endParaRPr>
          </a:p>
          <a:p>
            <a:pPr marL="0" indent="0" algn="just">
              <a:lnSpc>
                <a:spcPts val="2280"/>
              </a:lnSpc>
              <a:spcBef>
                <a:spcPts val="0"/>
              </a:spcBef>
            </a:pPr>
            <a:r>
              <a:rPr lang="en-IE" sz="1800" dirty="0"/>
              <a:t>Γραμμένη από μερικούς από τους κορυφαίους εμπειρογνώμονες της Ευρώπης σε θέματα επιχειρηματικών κρίσεων και συγκεντρώνοντας τις καλύτερες εξειδικευμένες πηγές, η </a:t>
            </a:r>
            <a:r>
              <a:rPr lang="en-IE" sz="1800" b="1" dirty="0"/>
              <a:t>Ενότητα 1 </a:t>
            </a:r>
            <a:r>
              <a:rPr lang="en-GB" sz="1800" dirty="0">
                <a:ea typeface="Open Sans Light" panose="020B0306030504020204" pitchFamily="34" charset="0"/>
                <a:cs typeface="Open Sans Light" panose="020B0306030504020204" pitchFamily="34" charset="0"/>
              </a:rPr>
              <a:t>σας παρέχει συνοπτική και πολύτιμη μάθηση στη βάση μιας επιχειρηματικής κρίσης. </a:t>
            </a:r>
            <a:endParaRPr lang="en-US" sz="1800" dirty="0"/>
          </a:p>
          <a:p>
            <a:pPr>
              <a:lnSpc>
                <a:spcPts val="2280"/>
              </a:lnSpc>
              <a:spcBef>
                <a:spcPts val="0"/>
              </a:spcBef>
            </a:pPr>
            <a:endParaRPr lang="en-US" sz="2200" dirty="0"/>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780611" y="1376764"/>
            <a:ext cx="2477854" cy="606865"/>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l-GR" sz="2800" dirty="0">
                <a:solidFill>
                  <a:schemeClr val="bg1"/>
                </a:solidFill>
                <a:latin typeface="Calibri" panose="020F0502020204030204" pitchFamily="34" charset="0"/>
                <a:cs typeface="Calibri" panose="020F0502020204030204" pitchFamily="34" charset="0"/>
              </a:rPr>
              <a:t>ΕΝΟΤΗΤΑ</a:t>
            </a:r>
            <a:r>
              <a:rPr lang="en-IE" sz="2800" dirty="0">
                <a:solidFill>
                  <a:schemeClr val="bg1"/>
                </a:solidFill>
                <a:latin typeface="Calibri" panose="020F0502020204030204" pitchFamily="34" charset="0"/>
                <a:cs typeface="Calibri" panose="020F0502020204030204" pitchFamily="34" charset="0"/>
              </a:rPr>
              <a:t> 01</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53686" y="1423908"/>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53686" y="249926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3686" y="461648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53686" y="355902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0543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3 </a:t>
            </a:r>
            <a:r>
              <a:rPr lang="el-GR" sz="4000" dirty="0">
                <a:solidFill>
                  <a:schemeClr val="bg1"/>
                </a:solidFill>
              </a:rPr>
              <a:t>   	</a:t>
            </a:r>
            <a:r>
              <a:rPr lang="en-US" dirty="0" err="1">
                <a:solidFill>
                  <a:schemeClr val="bg1"/>
                </a:solidFill>
              </a:rPr>
              <a:t>Προσδιορισμός</a:t>
            </a:r>
            <a:r>
              <a:rPr lang="en-US" dirty="0">
                <a:solidFill>
                  <a:schemeClr val="bg1"/>
                </a:solidFill>
              </a:rPr>
              <a:t> βασικών ενδιαφερομένων μερών και </a:t>
            </a:r>
            <a:r>
              <a:rPr lang="el-GR" dirty="0">
                <a:solidFill>
                  <a:schemeClr val="bg1"/>
                </a:solidFill>
              </a:rPr>
              <a:t>	</a:t>
            </a:r>
            <a:r>
              <a:rPr lang="en-US" dirty="0" err="1">
                <a:solidFill>
                  <a:schemeClr val="bg1"/>
                </a:solidFill>
              </a:rPr>
              <a:t>δι</a:t>
            </a:r>
            <a:r>
              <a:rPr lang="en-US" dirty="0">
                <a:solidFill>
                  <a:schemeClr val="bg1"/>
                </a:solidFill>
              </a:rPr>
              <a:t>αχείριση σχέσεων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719966" y="1822120"/>
            <a:ext cx="3893411" cy="4887024"/>
          </a:xfrm>
        </p:spPr>
        <p:txBody>
          <a:bodyPr>
            <a:noAutofit/>
          </a:bodyPr>
          <a:lstStyle/>
          <a:p>
            <a:pPr marL="12700" indent="-12700"/>
            <a:r>
              <a:rPr lang="en-GB" sz="1800" dirty="0">
                <a:latin typeface="Calibri" panose="020F0502020204030204" pitchFamily="34" charset="0"/>
                <a:ea typeface="Lato Light" panose="020F0502020204030203" pitchFamily="34" charset="0"/>
                <a:cs typeface="Calibri" panose="020F0502020204030204" pitchFamily="34" charset="0"/>
              </a:rPr>
              <a:t>Η διαχείριση των ενδιαφερομένων μερών είναι μια ουσιαστική συνολική διαδικασία.  Είναι ανεκτίμητα σημαντική στη διαχείριση κρίσεων, προκειμένου να ευθυγραμμίσετε τις προτάσεις αναδιάρθρωσης με τα συμφέροντα των ανθρώπων που επηρεάζονται και εμπλέκονται.</a:t>
            </a:r>
          </a:p>
          <a:p>
            <a:pPr marL="12700" indent="-12700"/>
            <a:r>
              <a:rPr lang="en-GB" sz="1800" dirty="0">
                <a:latin typeface="Calibri" panose="020F0502020204030204" pitchFamily="34" charset="0"/>
                <a:ea typeface="Lato Light" panose="020F0502020204030203" pitchFamily="34" charset="0"/>
                <a:cs typeface="Calibri" panose="020F0502020204030204" pitchFamily="34" charset="0"/>
              </a:rPr>
              <a:t>Η αντίσταση των ενδιαφερομένων μερών μπορεί να έχει άμεσο αντίκτυπο στην επιτυχία οποιασδήποτε αναδιάρθρωσης ή νέων προσεγγίσεων Η διαχείριση των ενδιαφερομένων μερών πρέπει να πραγματοποιείται σε βαθύ επίπεδο, καθώς επηρεάζονται περισσότερα ενδιαφερόμενα μέρη και μπορούν να επηρεάσουν την επιτυχία.</a:t>
            </a: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529758"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2" name="Freeform 4">
            <a:extLst>
              <a:ext uri="{FF2B5EF4-FFF2-40B4-BE49-F238E27FC236}">
                <a16:creationId xmlns:a16="http://schemas.microsoft.com/office/drawing/2014/main" id="{683CBAB2-E80E-8C34-3478-DACC80BF1040}"/>
              </a:ext>
            </a:extLst>
          </p:cNvPr>
          <p:cNvSpPr>
            <a:spLocks noChangeArrowheads="1"/>
          </p:cNvSpPr>
          <p:nvPr/>
        </p:nvSpPr>
        <p:spPr bwMode="auto">
          <a:xfrm>
            <a:off x="5765844" y="3302667"/>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3" name="Freeform 6">
            <a:extLst>
              <a:ext uri="{FF2B5EF4-FFF2-40B4-BE49-F238E27FC236}">
                <a16:creationId xmlns:a16="http://schemas.microsoft.com/office/drawing/2014/main" id="{71FC86EE-94BD-C7E6-0DAB-79CFDA76BE6B}"/>
              </a:ext>
            </a:extLst>
          </p:cNvPr>
          <p:cNvSpPr>
            <a:spLocks noChangeArrowheads="1"/>
          </p:cNvSpPr>
          <p:nvPr/>
        </p:nvSpPr>
        <p:spPr bwMode="auto">
          <a:xfrm>
            <a:off x="5936858" y="3469559"/>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rgbClr val="245473"/>
          </a:solidFill>
          <a:ln>
            <a:noFill/>
          </a:ln>
          <a:effectLst/>
        </p:spPr>
        <p:txBody>
          <a:bodyPr wrap="none" anchor="ctr"/>
          <a:lstStyle/>
          <a:p>
            <a:endParaRPr lang="en-GB" sz="2450" dirty="0">
              <a:latin typeface="+mj-lt"/>
            </a:endParaRPr>
          </a:p>
        </p:txBody>
      </p:sp>
      <p:sp>
        <p:nvSpPr>
          <p:cNvPr id="5" name="Freeform 7">
            <a:extLst>
              <a:ext uri="{FF2B5EF4-FFF2-40B4-BE49-F238E27FC236}">
                <a16:creationId xmlns:a16="http://schemas.microsoft.com/office/drawing/2014/main" id="{6CCFC6FC-D06A-C141-D612-2266CDFE2DC6}"/>
              </a:ext>
            </a:extLst>
          </p:cNvPr>
          <p:cNvSpPr>
            <a:spLocks noChangeArrowheads="1"/>
          </p:cNvSpPr>
          <p:nvPr/>
        </p:nvSpPr>
        <p:spPr bwMode="auto">
          <a:xfrm>
            <a:off x="7160728" y="3469559"/>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rgbClr val="7F1C58"/>
          </a:solidFill>
          <a:ln>
            <a:noFill/>
          </a:ln>
          <a:effectLst/>
        </p:spPr>
        <p:txBody>
          <a:bodyPr wrap="none" anchor="ctr"/>
          <a:lstStyle/>
          <a:p>
            <a:endParaRPr lang="en-GB" sz="2450" dirty="0">
              <a:latin typeface="+mj-lt"/>
            </a:endParaRPr>
          </a:p>
        </p:txBody>
      </p:sp>
      <p:sp>
        <p:nvSpPr>
          <p:cNvPr id="6" name="Freeform 8">
            <a:extLst>
              <a:ext uri="{FF2B5EF4-FFF2-40B4-BE49-F238E27FC236}">
                <a16:creationId xmlns:a16="http://schemas.microsoft.com/office/drawing/2014/main" id="{212DEB1F-E21F-2D6D-5B8D-714337A56CA2}"/>
              </a:ext>
            </a:extLst>
          </p:cNvPr>
          <p:cNvSpPr>
            <a:spLocks noChangeArrowheads="1"/>
          </p:cNvSpPr>
          <p:nvPr/>
        </p:nvSpPr>
        <p:spPr bwMode="auto">
          <a:xfrm>
            <a:off x="8394900" y="3469559"/>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rgbClr val="B41F7A"/>
          </a:solidFill>
          <a:ln>
            <a:noFill/>
          </a:ln>
          <a:effectLst/>
        </p:spPr>
        <p:txBody>
          <a:bodyPr wrap="none" anchor="ctr"/>
          <a:lstStyle/>
          <a:p>
            <a:endParaRPr lang="en-GB" sz="2450" dirty="0">
              <a:latin typeface="+mj-lt"/>
            </a:endParaRPr>
          </a:p>
        </p:txBody>
      </p:sp>
      <p:sp>
        <p:nvSpPr>
          <p:cNvPr id="8" name="Freeform 9">
            <a:extLst>
              <a:ext uri="{FF2B5EF4-FFF2-40B4-BE49-F238E27FC236}">
                <a16:creationId xmlns:a16="http://schemas.microsoft.com/office/drawing/2014/main" id="{EB6F7D84-C6E6-2CBD-D870-9560DAE9A3F9}"/>
              </a:ext>
            </a:extLst>
          </p:cNvPr>
          <p:cNvSpPr>
            <a:spLocks noChangeArrowheads="1"/>
          </p:cNvSpPr>
          <p:nvPr/>
        </p:nvSpPr>
        <p:spPr bwMode="auto">
          <a:xfrm>
            <a:off x="9612589" y="3469559"/>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rgbClr val="F16924"/>
          </a:solidFill>
          <a:ln>
            <a:noFill/>
          </a:ln>
          <a:effectLst/>
        </p:spPr>
        <p:txBody>
          <a:bodyPr wrap="none" anchor="ctr"/>
          <a:lstStyle/>
          <a:p>
            <a:endParaRPr lang="en-GB" sz="2450" dirty="0">
              <a:latin typeface="+mj-lt"/>
            </a:endParaRPr>
          </a:p>
        </p:txBody>
      </p:sp>
      <p:sp>
        <p:nvSpPr>
          <p:cNvPr id="10" name="Freeform 10">
            <a:extLst>
              <a:ext uri="{FF2B5EF4-FFF2-40B4-BE49-F238E27FC236}">
                <a16:creationId xmlns:a16="http://schemas.microsoft.com/office/drawing/2014/main" id="{5A8DFA2C-BCFD-C065-8C88-AD48DF485D24}"/>
              </a:ext>
            </a:extLst>
          </p:cNvPr>
          <p:cNvSpPr>
            <a:spLocks noChangeArrowheads="1"/>
          </p:cNvSpPr>
          <p:nvPr/>
        </p:nvSpPr>
        <p:spPr bwMode="auto">
          <a:xfrm>
            <a:off x="10861185" y="3469559"/>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rgbClr val="EDA13E"/>
          </a:solidFill>
          <a:ln>
            <a:noFill/>
          </a:ln>
          <a:effectLst/>
        </p:spPr>
        <p:txBody>
          <a:bodyPr wrap="none" anchor="ctr"/>
          <a:lstStyle/>
          <a:p>
            <a:endParaRPr lang="en-GB" sz="2450" dirty="0">
              <a:latin typeface="+mj-lt"/>
            </a:endParaRPr>
          </a:p>
        </p:txBody>
      </p:sp>
      <p:sp>
        <p:nvSpPr>
          <p:cNvPr id="11" name="Freeform 26">
            <a:extLst>
              <a:ext uri="{FF2B5EF4-FFF2-40B4-BE49-F238E27FC236}">
                <a16:creationId xmlns:a16="http://schemas.microsoft.com/office/drawing/2014/main" id="{B3FD203C-218E-137D-6268-00E3769595EB}"/>
              </a:ext>
            </a:extLst>
          </p:cNvPr>
          <p:cNvSpPr>
            <a:spLocks noChangeArrowheads="1"/>
          </p:cNvSpPr>
          <p:nvPr/>
        </p:nvSpPr>
        <p:spPr bwMode="auto">
          <a:xfrm>
            <a:off x="6969112" y="3840428"/>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dirty="0">
              <a:latin typeface="+mj-lt"/>
            </a:endParaRPr>
          </a:p>
        </p:txBody>
      </p:sp>
      <p:sp>
        <p:nvSpPr>
          <p:cNvPr id="12" name="Freeform 27">
            <a:extLst>
              <a:ext uri="{FF2B5EF4-FFF2-40B4-BE49-F238E27FC236}">
                <a16:creationId xmlns:a16="http://schemas.microsoft.com/office/drawing/2014/main" id="{AC18B927-6A73-9A45-10FA-2E8BB59E170C}"/>
              </a:ext>
            </a:extLst>
          </p:cNvPr>
          <p:cNvSpPr>
            <a:spLocks noChangeArrowheads="1"/>
          </p:cNvSpPr>
          <p:nvPr/>
        </p:nvSpPr>
        <p:spPr bwMode="auto">
          <a:xfrm>
            <a:off x="8203284" y="3840428"/>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dirty="0">
              <a:latin typeface="+mj-lt"/>
            </a:endParaRPr>
          </a:p>
        </p:txBody>
      </p:sp>
      <p:sp>
        <p:nvSpPr>
          <p:cNvPr id="14" name="Freeform 28">
            <a:extLst>
              <a:ext uri="{FF2B5EF4-FFF2-40B4-BE49-F238E27FC236}">
                <a16:creationId xmlns:a16="http://schemas.microsoft.com/office/drawing/2014/main" id="{2DAAA76D-9050-6BB2-AC36-F3AFC43E51CF}"/>
              </a:ext>
            </a:extLst>
          </p:cNvPr>
          <p:cNvSpPr>
            <a:spLocks noChangeArrowheads="1"/>
          </p:cNvSpPr>
          <p:nvPr/>
        </p:nvSpPr>
        <p:spPr bwMode="auto">
          <a:xfrm>
            <a:off x="9427154" y="3840428"/>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rgbClr val="595959"/>
          </a:solidFill>
          <a:ln>
            <a:noFill/>
          </a:ln>
          <a:effectLst/>
        </p:spPr>
        <p:txBody>
          <a:bodyPr wrap="none" anchor="ctr"/>
          <a:lstStyle/>
          <a:p>
            <a:endParaRPr lang="en-GB" sz="2450" dirty="0">
              <a:latin typeface="+mj-lt"/>
            </a:endParaRPr>
          </a:p>
        </p:txBody>
      </p:sp>
      <p:sp>
        <p:nvSpPr>
          <p:cNvPr id="15" name="Freeform 29">
            <a:extLst>
              <a:ext uri="{FF2B5EF4-FFF2-40B4-BE49-F238E27FC236}">
                <a16:creationId xmlns:a16="http://schemas.microsoft.com/office/drawing/2014/main" id="{1553634E-925C-F8FA-0A35-CEA98E124C74}"/>
              </a:ext>
            </a:extLst>
          </p:cNvPr>
          <p:cNvSpPr>
            <a:spLocks noChangeArrowheads="1"/>
          </p:cNvSpPr>
          <p:nvPr/>
        </p:nvSpPr>
        <p:spPr bwMode="auto">
          <a:xfrm>
            <a:off x="10661326" y="3840428"/>
            <a:ext cx="105080"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dirty="0">
              <a:latin typeface="+mj-lt"/>
            </a:endParaRPr>
          </a:p>
        </p:txBody>
      </p:sp>
      <p:sp>
        <p:nvSpPr>
          <p:cNvPr id="16" name="Down Arrow 18">
            <a:extLst>
              <a:ext uri="{FF2B5EF4-FFF2-40B4-BE49-F238E27FC236}">
                <a16:creationId xmlns:a16="http://schemas.microsoft.com/office/drawing/2014/main" id="{C729EC67-BFD7-96C8-C605-8CDC92201054}"/>
              </a:ext>
            </a:extLst>
          </p:cNvPr>
          <p:cNvSpPr/>
          <p:nvPr/>
        </p:nvSpPr>
        <p:spPr>
          <a:xfrm>
            <a:off x="6353581" y="4532051"/>
            <a:ext cx="120510" cy="446381"/>
          </a:xfrm>
          <a:prstGeom prst="downArrow">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7" name="Up Arrow 19">
            <a:extLst>
              <a:ext uri="{FF2B5EF4-FFF2-40B4-BE49-F238E27FC236}">
                <a16:creationId xmlns:a16="http://schemas.microsoft.com/office/drawing/2014/main" id="{596CFBD3-5A93-3624-9A31-1A83BF1A7BD4}"/>
              </a:ext>
            </a:extLst>
          </p:cNvPr>
          <p:cNvSpPr/>
          <p:nvPr/>
        </p:nvSpPr>
        <p:spPr>
          <a:xfrm>
            <a:off x="7577451" y="2912586"/>
            <a:ext cx="120510" cy="446381"/>
          </a:xfrm>
          <a:prstGeom prst="upArrow">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8" name="Down Arrow 20">
            <a:extLst>
              <a:ext uri="{FF2B5EF4-FFF2-40B4-BE49-F238E27FC236}">
                <a16:creationId xmlns:a16="http://schemas.microsoft.com/office/drawing/2014/main" id="{4BEA8F7F-9868-DB83-3035-F6F4633D04ED}"/>
              </a:ext>
            </a:extLst>
          </p:cNvPr>
          <p:cNvSpPr/>
          <p:nvPr/>
        </p:nvSpPr>
        <p:spPr>
          <a:xfrm>
            <a:off x="8810594" y="4532051"/>
            <a:ext cx="120510" cy="446381"/>
          </a:xfrm>
          <a:prstGeom prst="downArrow">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9" name="Up Arrow 21">
            <a:extLst>
              <a:ext uri="{FF2B5EF4-FFF2-40B4-BE49-F238E27FC236}">
                <a16:creationId xmlns:a16="http://schemas.microsoft.com/office/drawing/2014/main" id="{D6FB4873-18DE-CA3A-BEC9-726C6793D2AD}"/>
              </a:ext>
            </a:extLst>
          </p:cNvPr>
          <p:cNvSpPr/>
          <p:nvPr/>
        </p:nvSpPr>
        <p:spPr>
          <a:xfrm>
            <a:off x="10029312" y="2912586"/>
            <a:ext cx="120510" cy="446381"/>
          </a:xfrm>
          <a:prstGeom prst="upArrow">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0" name="Down Arrow 22">
            <a:extLst>
              <a:ext uri="{FF2B5EF4-FFF2-40B4-BE49-F238E27FC236}">
                <a16:creationId xmlns:a16="http://schemas.microsoft.com/office/drawing/2014/main" id="{FCEE2638-C4EC-46AA-6A68-962EFAF7B772}"/>
              </a:ext>
            </a:extLst>
          </p:cNvPr>
          <p:cNvSpPr/>
          <p:nvPr/>
        </p:nvSpPr>
        <p:spPr>
          <a:xfrm>
            <a:off x="11276878" y="4532051"/>
            <a:ext cx="120510" cy="446381"/>
          </a:xfrm>
          <a:prstGeom prst="downArrow">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1" name="TextBox 24">
            <a:extLst>
              <a:ext uri="{FF2B5EF4-FFF2-40B4-BE49-F238E27FC236}">
                <a16:creationId xmlns:a16="http://schemas.microsoft.com/office/drawing/2014/main" id="{D71D1F73-CC0A-21EA-8260-BB99A2B9D102}"/>
              </a:ext>
            </a:extLst>
          </p:cNvPr>
          <p:cNvSpPr txBox="1"/>
          <p:nvPr/>
        </p:nvSpPr>
        <p:spPr>
          <a:xfrm>
            <a:off x="5794729" y="4955398"/>
            <a:ext cx="1238224" cy="710707"/>
          </a:xfrm>
          <a:prstGeom prst="rect">
            <a:avLst/>
          </a:prstGeom>
          <a:noFill/>
        </p:spPr>
        <p:txBody>
          <a:bodyPr wrap="none" rtlCol="0" anchor="t" anchorCtr="0">
            <a:spAutoFit/>
          </a:bodyPr>
          <a:lstStyle/>
          <a:p>
            <a:pPr algn="ctr">
              <a:lnSpc>
                <a:spcPts val="1620"/>
              </a:lnSpc>
            </a:pPr>
            <a:r>
              <a:rPr lang="en-GB" sz="1600" b="1" dirty="0">
                <a:solidFill>
                  <a:srgbClr val="245473"/>
                </a:solidFill>
                <a:latin typeface="+mj-lt"/>
                <a:ea typeface="League Spartan" charset="0"/>
                <a:cs typeface="Poppins" pitchFamily="2" charset="77"/>
              </a:rPr>
              <a:t>Προσδιορίστε το </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σημαντικό</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Ενδιαφερόμενα μέρη</a:t>
            </a:r>
          </a:p>
        </p:txBody>
      </p:sp>
      <p:sp>
        <p:nvSpPr>
          <p:cNvPr id="22" name="TextBox 28">
            <a:extLst>
              <a:ext uri="{FF2B5EF4-FFF2-40B4-BE49-F238E27FC236}">
                <a16:creationId xmlns:a16="http://schemas.microsoft.com/office/drawing/2014/main" id="{3CF109EA-B680-C8D8-8EF1-62E568F13196}"/>
              </a:ext>
            </a:extLst>
          </p:cNvPr>
          <p:cNvSpPr txBox="1"/>
          <p:nvPr/>
        </p:nvSpPr>
        <p:spPr>
          <a:xfrm>
            <a:off x="8091554" y="4955398"/>
            <a:ext cx="1567865" cy="710707"/>
          </a:xfrm>
          <a:prstGeom prst="rect">
            <a:avLst/>
          </a:prstGeom>
          <a:noFill/>
        </p:spPr>
        <p:txBody>
          <a:bodyPr wrap="none" rtlCol="0" anchor="t" anchorCtr="0">
            <a:spAutoFit/>
          </a:bodyPr>
          <a:lstStyle/>
          <a:p>
            <a:pPr algn="ctr">
              <a:lnSpc>
                <a:spcPts val="1620"/>
              </a:lnSpc>
            </a:pPr>
            <a:r>
              <a:rPr lang="en-GB" sz="1600" b="1" dirty="0">
                <a:solidFill>
                  <a:srgbClr val="B41F7A"/>
                </a:solidFill>
                <a:latin typeface="+mj-lt"/>
                <a:ea typeface="League Spartan" charset="0"/>
                <a:cs typeface="Poppins" pitchFamily="2" charset="77"/>
              </a:rPr>
              <a:t>Παραγωγή μέτρων</a:t>
            </a:r>
            <a:br>
              <a:rPr lang="en-GB" sz="1600" b="1" dirty="0">
                <a:solidFill>
                  <a:srgbClr val="B41F7A"/>
                </a:solidFill>
                <a:latin typeface="+mj-lt"/>
                <a:ea typeface="League Spartan" charset="0"/>
                <a:cs typeface="Poppins" pitchFamily="2" charset="77"/>
              </a:rPr>
            </a:br>
            <a:r>
              <a:rPr lang="en-GB" sz="1600" b="1" dirty="0">
                <a:solidFill>
                  <a:srgbClr val="B41F7A"/>
                </a:solidFill>
                <a:latin typeface="+mj-lt"/>
                <a:ea typeface="League Spartan" charset="0"/>
                <a:cs typeface="Poppins" pitchFamily="2" charset="77"/>
              </a:rPr>
              <a:t>για κάθε </a:t>
            </a:r>
            <a:br>
              <a:rPr lang="en-GB" sz="1600" b="1" dirty="0">
                <a:solidFill>
                  <a:srgbClr val="B41F7A"/>
                </a:solidFill>
                <a:latin typeface="+mj-lt"/>
                <a:ea typeface="League Spartan" charset="0"/>
                <a:cs typeface="Poppins" pitchFamily="2" charset="77"/>
              </a:rPr>
            </a:br>
            <a:r>
              <a:rPr lang="en-GB" sz="1600" b="1" dirty="0">
                <a:solidFill>
                  <a:srgbClr val="B41F7A"/>
                </a:solidFill>
                <a:latin typeface="+mj-lt"/>
                <a:ea typeface="League Spartan" charset="0"/>
                <a:cs typeface="Poppins" pitchFamily="2" charset="77"/>
              </a:rPr>
              <a:t>Ενδιαφερόμενο μέρος</a:t>
            </a:r>
          </a:p>
        </p:txBody>
      </p:sp>
      <p:sp>
        <p:nvSpPr>
          <p:cNvPr id="23" name="TextBox 31">
            <a:extLst>
              <a:ext uri="{FF2B5EF4-FFF2-40B4-BE49-F238E27FC236}">
                <a16:creationId xmlns:a16="http://schemas.microsoft.com/office/drawing/2014/main" id="{CC6433F6-BE86-B6B7-14A1-4DA3B042D50A}"/>
              </a:ext>
            </a:extLst>
          </p:cNvPr>
          <p:cNvSpPr txBox="1"/>
          <p:nvPr/>
        </p:nvSpPr>
        <p:spPr>
          <a:xfrm>
            <a:off x="10906760" y="4955398"/>
            <a:ext cx="860748" cy="300339"/>
          </a:xfrm>
          <a:prstGeom prst="rect">
            <a:avLst/>
          </a:prstGeom>
          <a:noFill/>
        </p:spPr>
        <p:txBody>
          <a:bodyPr wrap="none" rtlCol="0" anchor="t" anchorCtr="0">
            <a:spAutoFit/>
          </a:bodyPr>
          <a:lstStyle/>
          <a:p>
            <a:pPr algn="ctr">
              <a:lnSpc>
                <a:spcPts val="1620"/>
              </a:lnSpc>
            </a:pPr>
            <a:r>
              <a:rPr lang="en-GB" sz="1600" b="1" dirty="0">
                <a:solidFill>
                  <a:srgbClr val="EDA13E"/>
                </a:solidFill>
                <a:latin typeface="+mj-lt"/>
                <a:ea typeface="League Spartan" charset="0"/>
                <a:cs typeface="Poppins" pitchFamily="2" charset="77"/>
              </a:rPr>
              <a:t>Οθόνη</a:t>
            </a:r>
          </a:p>
        </p:txBody>
      </p:sp>
      <p:sp>
        <p:nvSpPr>
          <p:cNvPr id="24" name="TextBox 35">
            <a:extLst>
              <a:ext uri="{FF2B5EF4-FFF2-40B4-BE49-F238E27FC236}">
                <a16:creationId xmlns:a16="http://schemas.microsoft.com/office/drawing/2014/main" id="{4901356F-EB93-9760-CA63-756DBFB60F2D}"/>
              </a:ext>
            </a:extLst>
          </p:cNvPr>
          <p:cNvSpPr txBox="1"/>
          <p:nvPr/>
        </p:nvSpPr>
        <p:spPr>
          <a:xfrm>
            <a:off x="6814866" y="1910827"/>
            <a:ext cx="1702388" cy="915892"/>
          </a:xfrm>
          <a:prstGeom prst="rect">
            <a:avLst/>
          </a:prstGeom>
          <a:noFill/>
        </p:spPr>
        <p:txBody>
          <a:bodyPr wrap="square" rtlCol="0" anchor="b" anchorCtr="0">
            <a:spAutoFit/>
          </a:bodyPr>
          <a:lstStyle/>
          <a:p>
            <a:pPr algn="ctr">
              <a:lnSpc>
                <a:spcPts val="1620"/>
              </a:lnSpc>
            </a:pPr>
            <a:r>
              <a:rPr lang="en-GB" sz="1600" b="1" dirty="0">
                <a:solidFill>
                  <a:srgbClr val="7F1C58"/>
                </a:solidFill>
                <a:latin typeface="+mj-lt"/>
                <a:ea typeface="League Spartan" charset="0"/>
                <a:cs typeface="Poppins" pitchFamily="2" charset="77"/>
              </a:rPr>
              <a:t>Ανάλυση και </a:t>
            </a:r>
            <a:br>
              <a:rPr lang="en-GB" sz="1600" b="1" dirty="0">
                <a:solidFill>
                  <a:srgbClr val="7F1C58"/>
                </a:solidFill>
                <a:latin typeface="+mj-lt"/>
                <a:ea typeface="League Spartan" charset="0"/>
                <a:cs typeface="Poppins" pitchFamily="2" charset="77"/>
              </a:rPr>
            </a:br>
            <a:r>
              <a:rPr lang="en-GB" sz="1600" b="1" dirty="0">
                <a:solidFill>
                  <a:srgbClr val="7F1C58"/>
                </a:solidFill>
                <a:latin typeface="+mj-lt"/>
                <a:ea typeface="League Spartan" charset="0"/>
                <a:cs typeface="Poppins" pitchFamily="2" charset="77"/>
              </a:rPr>
              <a:t>βαθμολογήστε τα ενδιαφερόμενα μέρη</a:t>
            </a:r>
          </a:p>
        </p:txBody>
      </p:sp>
      <p:sp>
        <p:nvSpPr>
          <p:cNvPr id="25" name="TextBox 38">
            <a:extLst>
              <a:ext uri="{FF2B5EF4-FFF2-40B4-BE49-F238E27FC236}">
                <a16:creationId xmlns:a16="http://schemas.microsoft.com/office/drawing/2014/main" id="{14CCD2A5-F53B-DD3D-AFFB-E062DEF65CB2}"/>
              </a:ext>
            </a:extLst>
          </p:cNvPr>
          <p:cNvSpPr txBox="1"/>
          <p:nvPr/>
        </p:nvSpPr>
        <p:spPr>
          <a:xfrm>
            <a:off x="9546984" y="2357034"/>
            <a:ext cx="1085169" cy="505523"/>
          </a:xfrm>
          <a:prstGeom prst="rect">
            <a:avLst/>
          </a:prstGeom>
          <a:noFill/>
        </p:spPr>
        <p:txBody>
          <a:bodyPr wrap="none" rtlCol="0" anchor="b" anchorCtr="0">
            <a:spAutoFit/>
          </a:bodyPr>
          <a:lstStyle/>
          <a:p>
            <a:pPr algn="ctr">
              <a:lnSpc>
                <a:spcPts val="1620"/>
              </a:lnSpc>
            </a:pPr>
            <a:r>
              <a:rPr lang="en-GB" sz="1600" b="1" dirty="0">
                <a:solidFill>
                  <a:srgbClr val="F16924"/>
                </a:solidFill>
                <a:latin typeface="+mj-lt"/>
                <a:ea typeface="League Spartan" charset="0"/>
                <a:cs typeface="Poppins" pitchFamily="2" charset="77"/>
              </a:rPr>
              <a:t>Εφαρμογή</a:t>
            </a:r>
            <a:br>
              <a:rPr lang="en-GB" sz="1600" b="1" dirty="0">
                <a:solidFill>
                  <a:srgbClr val="F16924"/>
                </a:solidFill>
                <a:latin typeface="+mj-lt"/>
                <a:ea typeface="League Spartan" charset="0"/>
                <a:cs typeface="Poppins" pitchFamily="2" charset="77"/>
              </a:rPr>
            </a:br>
            <a:r>
              <a:rPr lang="en-GB" sz="1600" b="1" dirty="0">
                <a:solidFill>
                  <a:srgbClr val="F16924"/>
                </a:solidFill>
                <a:latin typeface="+mj-lt"/>
                <a:ea typeface="League Spartan" charset="0"/>
                <a:cs typeface="Poppins" pitchFamily="2" charset="77"/>
              </a:rPr>
              <a:t>Μέτρα</a:t>
            </a:r>
          </a:p>
        </p:txBody>
      </p:sp>
      <p:sp>
        <p:nvSpPr>
          <p:cNvPr id="26" name="TextBox 39">
            <a:extLst>
              <a:ext uri="{FF2B5EF4-FFF2-40B4-BE49-F238E27FC236}">
                <a16:creationId xmlns:a16="http://schemas.microsoft.com/office/drawing/2014/main" id="{1CF303ED-32AF-8137-E3AB-41DD16003212}"/>
              </a:ext>
            </a:extLst>
          </p:cNvPr>
          <p:cNvSpPr txBox="1"/>
          <p:nvPr/>
        </p:nvSpPr>
        <p:spPr>
          <a:xfrm>
            <a:off x="6211697"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1</a:t>
            </a:r>
          </a:p>
        </p:txBody>
      </p:sp>
      <p:sp>
        <p:nvSpPr>
          <p:cNvPr id="27" name="TextBox 40">
            <a:extLst>
              <a:ext uri="{FF2B5EF4-FFF2-40B4-BE49-F238E27FC236}">
                <a16:creationId xmlns:a16="http://schemas.microsoft.com/office/drawing/2014/main" id="{6F29BBBE-CE24-2771-6FF1-168C1A14E791}"/>
              </a:ext>
            </a:extLst>
          </p:cNvPr>
          <p:cNvSpPr txBox="1"/>
          <p:nvPr/>
        </p:nvSpPr>
        <p:spPr>
          <a:xfrm>
            <a:off x="7435567"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2</a:t>
            </a:r>
          </a:p>
        </p:txBody>
      </p:sp>
      <p:sp>
        <p:nvSpPr>
          <p:cNvPr id="28" name="TextBox 41">
            <a:extLst>
              <a:ext uri="{FF2B5EF4-FFF2-40B4-BE49-F238E27FC236}">
                <a16:creationId xmlns:a16="http://schemas.microsoft.com/office/drawing/2014/main" id="{F376F0FA-68D8-7024-5EDA-A83DCC0A7C11}"/>
              </a:ext>
            </a:extLst>
          </p:cNvPr>
          <p:cNvSpPr txBox="1"/>
          <p:nvPr/>
        </p:nvSpPr>
        <p:spPr>
          <a:xfrm>
            <a:off x="8663558" y="3639590"/>
            <a:ext cx="404278" cy="611834"/>
          </a:xfrm>
          <a:prstGeom prst="rect">
            <a:avLst/>
          </a:prstGeom>
          <a:solidFill>
            <a:srgbClr val="B41F7A"/>
          </a:solidFill>
        </p:spPr>
        <p:txBody>
          <a:bodyPr wrap="none" rtlCol="0" anchor="ctr">
            <a:spAutoFit/>
          </a:bodyPr>
          <a:lstStyle/>
          <a:p>
            <a:pPr algn="ctr"/>
            <a:r>
              <a:rPr lang="en-GB" sz="3376" b="1" dirty="0">
                <a:solidFill>
                  <a:schemeClr val="bg1"/>
                </a:solidFill>
                <a:latin typeface="+mj-lt"/>
                <a:cs typeface="Poppins" pitchFamily="2" charset="77"/>
              </a:rPr>
              <a:t>3</a:t>
            </a:r>
          </a:p>
        </p:txBody>
      </p:sp>
      <p:sp>
        <p:nvSpPr>
          <p:cNvPr id="29" name="TextBox 42">
            <a:extLst>
              <a:ext uri="{FF2B5EF4-FFF2-40B4-BE49-F238E27FC236}">
                <a16:creationId xmlns:a16="http://schemas.microsoft.com/office/drawing/2014/main" id="{E9F04B17-A9CD-2EEE-D4FE-714BA08DDBAD}"/>
              </a:ext>
            </a:extLst>
          </p:cNvPr>
          <p:cNvSpPr txBox="1"/>
          <p:nvPr/>
        </p:nvSpPr>
        <p:spPr>
          <a:xfrm>
            <a:off x="9887429"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4</a:t>
            </a:r>
          </a:p>
        </p:txBody>
      </p:sp>
      <p:sp>
        <p:nvSpPr>
          <p:cNvPr id="30" name="TextBox 43">
            <a:extLst>
              <a:ext uri="{FF2B5EF4-FFF2-40B4-BE49-F238E27FC236}">
                <a16:creationId xmlns:a16="http://schemas.microsoft.com/office/drawing/2014/main" id="{D305598D-273F-A734-01A6-2F9F711B0952}"/>
              </a:ext>
            </a:extLst>
          </p:cNvPr>
          <p:cNvSpPr txBox="1"/>
          <p:nvPr/>
        </p:nvSpPr>
        <p:spPr>
          <a:xfrm>
            <a:off x="11134994"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5</a:t>
            </a:r>
          </a:p>
        </p:txBody>
      </p:sp>
    </p:spTree>
    <p:extLst>
      <p:ext uri="{BB962C8B-B14F-4D97-AF65-F5344CB8AC3E}">
        <p14:creationId xmlns:p14="http://schemas.microsoft.com/office/powerpoint/2010/main" val="5624707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4 </a:t>
            </a:r>
            <a:r>
              <a:rPr lang="el-GR" sz="4000" dirty="0">
                <a:solidFill>
                  <a:schemeClr val="bg1"/>
                </a:solidFill>
              </a:rPr>
              <a:t>	</a:t>
            </a:r>
            <a:r>
              <a:rPr lang="en-US" dirty="0" err="1">
                <a:solidFill>
                  <a:schemeClr val="bg1"/>
                </a:solidFill>
              </a:rPr>
              <a:t>Χρήση</a:t>
            </a:r>
            <a:r>
              <a:rPr lang="en-US" dirty="0">
                <a:solidFill>
                  <a:schemeClr val="bg1"/>
                </a:solidFill>
              </a:rPr>
              <a:t> υφιστάμενων αξιολογήσεων για τον εντοπισμό </a:t>
            </a:r>
            <a:r>
              <a:rPr lang="el-GR" dirty="0">
                <a:solidFill>
                  <a:schemeClr val="bg1"/>
                </a:solidFill>
              </a:rPr>
              <a:t>	</a:t>
            </a:r>
            <a:r>
              <a:rPr lang="en-US" dirty="0" err="1">
                <a:solidFill>
                  <a:schemeClr val="bg1"/>
                </a:solidFill>
              </a:rPr>
              <a:t>κινδύνων</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12807" y="1687072"/>
            <a:ext cx="4088124" cy="4650317"/>
          </a:xfrm>
        </p:spPr>
        <p:txBody>
          <a:bodyPr>
            <a:noAutofit/>
          </a:bodyPr>
          <a:lstStyle/>
          <a:p>
            <a:pPr marL="12700" indent="-12700"/>
            <a:r>
              <a:rPr lang="en-GB" sz="1800" dirty="0">
                <a:latin typeface="Calibri" panose="020F0502020204030204" pitchFamily="34" charset="0"/>
                <a:ea typeface="Lato Light" panose="020F0502020204030203" pitchFamily="34" charset="0"/>
                <a:cs typeface="Calibri" panose="020F0502020204030204" pitchFamily="34" charset="0"/>
              </a:rPr>
              <a:t>Πολλές ΜΜΕ διεξάγουν ήδη τακτικούς ελέγχους και αξιολογήσεις για διάφορους σκοπούς (π.χ. έλεγχοι προμηθευτών).Πολύ συχνά, ωστόσο, οι έλεγχοι αυτοί αντιμετωπίζονται από μια απομονωμένη οπτική γωνία και αποκλειστικά εντός του συγκεκριμένου τομέα λειτουργίας. Εάν οι έλεγχοι και οι αξιολογήσεις συγκεντρώνονται από διάφορους τομείς της επιχείρησης και εξετάζονται στο σύνολό τους, είναι συχνά δυνατό να διαμορφωθεί μια πολύ σαφής εικόνα της κατάστασης της επιχείρησης και των πιθανών αιτιών της κρίσης. </a:t>
            </a:r>
            <a:r>
              <a:rPr lang="en-GB" sz="1800" b="1" dirty="0">
                <a:latin typeface="Calibri" panose="020F0502020204030204" pitchFamily="34" charset="0"/>
                <a:ea typeface="Lato Light" panose="020F0502020204030203" pitchFamily="34" charset="0"/>
                <a:cs typeface="Calibri" panose="020F0502020204030204" pitchFamily="34" charset="0"/>
              </a:rPr>
              <a:t>Ακολουθούν 6 τομείς που πρέπει να εξετάσετε, αλλά υπάρχουν και άλλοι που αφορούν ειδικά τη δική σας ΜΜΕ;  </a:t>
            </a:r>
            <a:r>
              <a:rPr lang="en-GB" sz="1800" dirty="0">
                <a:latin typeface="Calibri" panose="020F0502020204030204" pitchFamily="34" charset="0"/>
                <a:ea typeface="Lato Light" panose="020F0502020204030203" pitchFamily="34" charset="0"/>
                <a:cs typeface="Calibri" panose="020F0502020204030204" pitchFamily="34" charset="0"/>
              </a:rPr>
              <a:t>Συμπεριλάβετε τους στην αξιολόγησή σας.</a:t>
            </a:r>
          </a:p>
        </p:txBody>
      </p:sp>
      <p:grpSp>
        <p:nvGrpSpPr>
          <p:cNvPr id="39" name="Group 38">
            <a:extLst>
              <a:ext uri="{FF2B5EF4-FFF2-40B4-BE49-F238E27FC236}">
                <a16:creationId xmlns:a16="http://schemas.microsoft.com/office/drawing/2014/main" id="{73EB25BA-7A28-2A97-393A-09295F1EBAF4}"/>
              </a:ext>
            </a:extLst>
          </p:cNvPr>
          <p:cNvGrpSpPr/>
          <p:nvPr/>
        </p:nvGrpSpPr>
        <p:grpSpPr>
          <a:xfrm>
            <a:off x="517239" y="1772549"/>
            <a:ext cx="912642" cy="1019345"/>
            <a:chOff x="8865150" y="2423597"/>
            <a:chExt cx="667915" cy="746005"/>
          </a:xfrm>
          <a:solidFill>
            <a:srgbClr val="595959"/>
          </a:solidFill>
        </p:grpSpPr>
        <p:sp>
          <p:nvSpPr>
            <p:cNvPr id="40" name="Freeform 39">
              <a:extLst>
                <a:ext uri="{FF2B5EF4-FFF2-40B4-BE49-F238E27FC236}">
                  <a16:creationId xmlns:a16="http://schemas.microsoft.com/office/drawing/2014/main" id="{64EE4150-8981-CC43-7A90-C39E9F9C9758}"/>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1" name="Graphic 2">
              <a:extLst>
                <a:ext uri="{FF2B5EF4-FFF2-40B4-BE49-F238E27FC236}">
                  <a16:creationId xmlns:a16="http://schemas.microsoft.com/office/drawing/2014/main" id="{19AD7A99-323E-D9D0-B362-59639FAD63F5}"/>
                </a:ext>
              </a:extLst>
            </p:cNvPr>
            <p:cNvGrpSpPr/>
            <p:nvPr/>
          </p:nvGrpSpPr>
          <p:grpSpPr>
            <a:xfrm>
              <a:off x="8865150" y="2423597"/>
              <a:ext cx="667915" cy="746005"/>
              <a:chOff x="8865150" y="2423597"/>
              <a:chExt cx="667915" cy="746005"/>
            </a:xfrm>
            <a:grpFill/>
          </p:grpSpPr>
          <p:sp>
            <p:nvSpPr>
              <p:cNvPr id="42" name="Freeform 41">
                <a:extLst>
                  <a:ext uri="{FF2B5EF4-FFF2-40B4-BE49-F238E27FC236}">
                    <a16:creationId xmlns:a16="http://schemas.microsoft.com/office/drawing/2014/main" id="{49620377-9369-50C2-98EF-58972520C0A3}"/>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0AA35E50-0899-1316-D8EA-562F8621AFBC}"/>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50687E9-3AFE-8416-5BB7-3AE7C34D761F}"/>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F3DD0A76-1C21-0D06-C37D-51EEDD81BAB9}"/>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6" name="Freeform 45">
                <a:extLst>
                  <a:ext uri="{FF2B5EF4-FFF2-40B4-BE49-F238E27FC236}">
                    <a16:creationId xmlns:a16="http://schemas.microsoft.com/office/drawing/2014/main" id="{9E1C473E-D930-0DCE-C9D7-B4AF60BF446B}"/>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47" name="Freeform 21">
            <a:extLst>
              <a:ext uri="{FF2B5EF4-FFF2-40B4-BE49-F238E27FC236}">
                <a16:creationId xmlns:a16="http://schemas.microsoft.com/office/drawing/2014/main" id="{40D67AFE-9FAE-D524-5A30-70CC3C3D7BC2}"/>
              </a:ext>
            </a:extLst>
          </p:cNvPr>
          <p:cNvSpPr/>
          <p:nvPr/>
        </p:nvSpPr>
        <p:spPr>
          <a:xfrm>
            <a:off x="7257023" y="2577406"/>
            <a:ext cx="1191629" cy="1198362"/>
          </a:xfrm>
          <a:custGeom>
            <a:avLst/>
            <a:gdLst>
              <a:gd name="connsiteX0" fmla="*/ 874322 w 3456476"/>
              <a:gd name="connsiteY0" fmla="*/ 0 h 3476003"/>
              <a:gd name="connsiteX1" fmla="*/ 3456475 w 3456476"/>
              <a:gd name="connsiteY1" fmla="*/ 481535 h 3476003"/>
              <a:gd name="connsiteX2" fmla="*/ 3456476 w 3456476"/>
              <a:gd name="connsiteY2" fmla="*/ 2480209 h 3476003"/>
              <a:gd name="connsiteX3" fmla="*/ 3338706 w 3456476"/>
              <a:gd name="connsiteY3" fmla="*/ 2486156 h 3476003"/>
              <a:gd name="connsiteX4" fmla="*/ 1753677 w 3456476"/>
              <a:gd name="connsiteY4" fmla="*/ 3436181 h 3476003"/>
              <a:gd name="connsiteX5" fmla="*/ 1729485 w 3456476"/>
              <a:gd name="connsiteY5" fmla="*/ 3476003 h 3476003"/>
              <a:gd name="connsiteX6" fmla="*/ 0 w 3456476"/>
              <a:gd name="connsiteY6" fmla="*/ 2477484 h 3476003"/>
              <a:gd name="connsiteX7" fmla="*/ 874322 w 3456476"/>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6" h="3476003">
                <a:moveTo>
                  <a:pt x="874322" y="0"/>
                </a:moveTo>
                <a:lnTo>
                  <a:pt x="3456475" y="481535"/>
                </a:lnTo>
                <a:lnTo>
                  <a:pt x="3456476" y="2480209"/>
                </a:lnTo>
                <a:lnTo>
                  <a:pt x="3338706" y="2486156"/>
                </a:lnTo>
                <a:cubicBezTo>
                  <a:pt x="2679043" y="2553148"/>
                  <a:pt x="2106314" y="2914209"/>
                  <a:pt x="1753677" y="3436181"/>
                </a:cubicBezTo>
                <a:lnTo>
                  <a:pt x="1729485" y="3476003"/>
                </a:lnTo>
                <a:lnTo>
                  <a:pt x="0" y="2477484"/>
                </a:lnTo>
                <a:lnTo>
                  <a:pt x="874322"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8" name="Freeform 20">
            <a:extLst>
              <a:ext uri="{FF2B5EF4-FFF2-40B4-BE49-F238E27FC236}">
                <a16:creationId xmlns:a16="http://schemas.microsoft.com/office/drawing/2014/main" id="{2DA46910-EFB2-AFB6-FA41-5D090B8798BB}"/>
              </a:ext>
            </a:extLst>
          </p:cNvPr>
          <p:cNvSpPr/>
          <p:nvPr/>
        </p:nvSpPr>
        <p:spPr>
          <a:xfrm>
            <a:off x="8521156" y="2577406"/>
            <a:ext cx="1192218" cy="1198362"/>
          </a:xfrm>
          <a:custGeom>
            <a:avLst/>
            <a:gdLst>
              <a:gd name="connsiteX0" fmla="*/ 2584207 w 3458182"/>
              <a:gd name="connsiteY0" fmla="*/ 0 h 3476003"/>
              <a:gd name="connsiteX1" fmla="*/ 3458182 w 3458182"/>
              <a:gd name="connsiteY1" fmla="*/ 2476499 h 3476003"/>
              <a:gd name="connsiteX2" fmla="*/ 1726990 w 3458182"/>
              <a:gd name="connsiteY2" fmla="*/ 3476003 h 3476003"/>
              <a:gd name="connsiteX3" fmla="*/ 1702798 w 3458182"/>
              <a:gd name="connsiteY3" fmla="*/ 3436181 h 3476003"/>
              <a:gd name="connsiteX4" fmla="*/ 117769 w 3458182"/>
              <a:gd name="connsiteY4" fmla="*/ 2486156 h 3476003"/>
              <a:gd name="connsiteX5" fmla="*/ 1 w 3458182"/>
              <a:gd name="connsiteY5" fmla="*/ 2480209 h 3476003"/>
              <a:gd name="connsiteX6" fmla="*/ 0 w 3458182"/>
              <a:gd name="connsiteY6" fmla="*/ 481918 h 3476003"/>
              <a:gd name="connsiteX7" fmla="*/ 2584207 w 3458182"/>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2" h="3476003">
                <a:moveTo>
                  <a:pt x="2584207" y="0"/>
                </a:moveTo>
                <a:lnTo>
                  <a:pt x="3458182" y="2476499"/>
                </a:lnTo>
                <a:lnTo>
                  <a:pt x="1726990" y="3476003"/>
                </a:lnTo>
                <a:lnTo>
                  <a:pt x="1702798" y="3436181"/>
                </a:lnTo>
                <a:cubicBezTo>
                  <a:pt x="1350161" y="2914209"/>
                  <a:pt x="777432" y="2553148"/>
                  <a:pt x="117769" y="2486156"/>
                </a:cubicBezTo>
                <a:lnTo>
                  <a:pt x="1" y="2480209"/>
                </a:lnTo>
                <a:lnTo>
                  <a:pt x="0" y="481918"/>
                </a:lnTo>
                <a:lnTo>
                  <a:pt x="2584207" y="0"/>
                </a:lnTo>
                <a:close/>
              </a:path>
            </a:pathLst>
          </a:cu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9" name="Freeform 16">
            <a:extLst>
              <a:ext uri="{FF2B5EF4-FFF2-40B4-BE49-F238E27FC236}">
                <a16:creationId xmlns:a16="http://schemas.microsoft.com/office/drawing/2014/main" id="{5ED5AD80-898A-222B-4E09-CA87666B60AA}"/>
              </a:ext>
            </a:extLst>
          </p:cNvPr>
          <p:cNvSpPr/>
          <p:nvPr/>
        </p:nvSpPr>
        <p:spPr>
          <a:xfrm>
            <a:off x="9152844" y="3494035"/>
            <a:ext cx="1186036" cy="1376540"/>
          </a:xfrm>
          <a:custGeom>
            <a:avLst/>
            <a:gdLst>
              <a:gd name="connsiteX0" fmla="*/ 1730758 w 3440250"/>
              <a:gd name="connsiteY0" fmla="*/ 0 h 3992832"/>
              <a:gd name="connsiteX1" fmla="*/ 3440250 w 3440250"/>
              <a:gd name="connsiteY1" fmla="*/ 1996416 h 3992832"/>
              <a:gd name="connsiteX2" fmla="*/ 1730758 w 3440250"/>
              <a:gd name="connsiteY2" fmla="*/ 3992832 h 3992832"/>
              <a:gd name="connsiteX3" fmla="*/ 0 w 3440250"/>
              <a:gd name="connsiteY3" fmla="*/ 2993578 h 3992832"/>
              <a:gd name="connsiteX4" fmla="*/ 71529 w 3440250"/>
              <a:gd name="connsiteY4" fmla="*/ 2845094 h 3992832"/>
              <a:gd name="connsiteX5" fmla="*/ 242869 w 3440250"/>
              <a:gd name="connsiteY5" fmla="*/ 1996416 h 3992832"/>
              <a:gd name="connsiteX6" fmla="*/ 71529 w 3440250"/>
              <a:gd name="connsiteY6" fmla="*/ 1147738 h 3992832"/>
              <a:gd name="connsiteX7" fmla="*/ 0 w 3440250"/>
              <a:gd name="connsiteY7" fmla="*/ 999253 h 3992832"/>
              <a:gd name="connsiteX8" fmla="*/ 1730758 w 3440250"/>
              <a:gd name="connsiteY8" fmla="*/ 0 h 399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0250" h="3992832">
                <a:moveTo>
                  <a:pt x="1730758" y="0"/>
                </a:moveTo>
                <a:lnTo>
                  <a:pt x="3440250" y="1996416"/>
                </a:lnTo>
                <a:lnTo>
                  <a:pt x="1730758" y="3992832"/>
                </a:lnTo>
                <a:lnTo>
                  <a:pt x="0" y="2993578"/>
                </a:lnTo>
                <a:lnTo>
                  <a:pt x="71529" y="2845094"/>
                </a:lnTo>
                <a:cubicBezTo>
                  <a:pt x="181859" y="2584244"/>
                  <a:pt x="242869" y="2297455"/>
                  <a:pt x="242869" y="1996416"/>
                </a:cubicBezTo>
                <a:cubicBezTo>
                  <a:pt x="242869" y="1695377"/>
                  <a:pt x="181859" y="1408588"/>
                  <a:pt x="71529" y="1147738"/>
                </a:cubicBezTo>
                <a:lnTo>
                  <a:pt x="0" y="999253"/>
                </a:lnTo>
                <a:lnTo>
                  <a:pt x="1730758"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0" name="Freeform 15">
            <a:extLst>
              <a:ext uri="{FF2B5EF4-FFF2-40B4-BE49-F238E27FC236}">
                <a16:creationId xmlns:a16="http://schemas.microsoft.com/office/drawing/2014/main" id="{9163F380-E7FB-2DE8-E879-B4E659788E6D}"/>
              </a:ext>
            </a:extLst>
          </p:cNvPr>
          <p:cNvSpPr/>
          <p:nvPr/>
        </p:nvSpPr>
        <p:spPr>
          <a:xfrm>
            <a:off x="6631636" y="3494309"/>
            <a:ext cx="1185327" cy="1375993"/>
          </a:xfrm>
          <a:custGeom>
            <a:avLst/>
            <a:gdLst>
              <a:gd name="connsiteX0" fmla="*/ 1708813 w 3438196"/>
              <a:gd name="connsiteY0" fmla="*/ 0 h 3991245"/>
              <a:gd name="connsiteX1" fmla="*/ 3438196 w 3438196"/>
              <a:gd name="connsiteY1" fmla="*/ 998460 h 3991245"/>
              <a:gd name="connsiteX2" fmla="*/ 3366667 w 3438196"/>
              <a:gd name="connsiteY2" fmla="*/ 1146945 h 3991245"/>
              <a:gd name="connsiteX3" fmla="*/ 3195327 w 3438196"/>
              <a:gd name="connsiteY3" fmla="*/ 1995623 h 3991245"/>
              <a:gd name="connsiteX4" fmla="*/ 3366667 w 3438196"/>
              <a:gd name="connsiteY4" fmla="*/ 2844301 h 3991245"/>
              <a:gd name="connsiteX5" fmla="*/ 3438196 w 3438196"/>
              <a:gd name="connsiteY5" fmla="*/ 2992785 h 3991245"/>
              <a:gd name="connsiteX6" fmla="*/ 1708812 w 3438196"/>
              <a:gd name="connsiteY6" fmla="*/ 3991245 h 3991245"/>
              <a:gd name="connsiteX7" fmla="*/ 0 w 3438196"/>
              <a:gd name="connsiteY7" fmla="*/ 1995623 h 3991245"/>
              <a:gd name="connsiteX8" fmla="*/ 1708813 w 3438196"/>
              <a:gd name="connsiteY8" fmla="*/ 0 h 399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8196" h="3991245">
                <a:moveTo>
                  <a:pt x="1708813" y="0"/>
                </a:moveTo>
                <a:lnTo>
                  <a:pt x="3438196" y="998460"/>
                </a:lnTo>
                <a:lnTo>
                  <a:pt x="3366667" y="1146945"/>
                </a:lnTo>
                <a:cubicBezTo>
                  <a:pt x="3256337" y="1407795"/>
                  <a:pt x="3195327" y="1694584"/>
                  <a:pt x="3195327" y="1995623"/>
                </a:cubicBezTo>
                <a:cubicBezTo>
                  <a:pt x="3195327" y="2296662"/>
                  <a:pt x="3256337" y="2583451"/>
                  <a:pt x="3366667" y="2844301"/>
                </a:cubicBezTo>
                <a:lnTo>
                  <a:pt x="3438196" y="2992785"/>
                </a:lnTo>
                <a:lnTo>
                  <a:pt x="1708812" y="3991245"/>
                </a:lnTo>
                <a:lnTo>
                  <a:pt x="0" y="1995623"/>
                </a:lnTo>
                <a:lnTo>
                  <a:pt x="1708813"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Freeform 14">
            <a:extLst>
              <a:ext uri="{FF2B5EF4-FFF2-40B4-BE49-F238E27FC236}">
                <a16:creationId xmlns:a16="http://schemas.microsoft.com/office/drawing/2014/main" id="{D7040C49-F429-5BCE-5547-B4ABD69A9FBC}"/>
              </a:ext>
            </a:extLst>
          </p:cNvPr>
          <p:cNvSpPr/>
          <p:nvPr/>
        </p:nvSpPr>
        <p:spPr>
          <a:xfrm>
            <a:off x="7257021" y="4588842"/>
            <a:ext cx="1191630" cy="1198362"/>
          </a:xfrm>
          <a:custGeom>
            <a:avLst/>
            <a:gdLst>
              <a:gd name="connsiteX0" fmla="*/ 1729485 w 3456477"/>
              <a:gd name="connsiteY0" fmla="*/ 0 h 3476003"/>
              <a:gd name="connsiteX1" fmla="*/ 1753678 w 3456477"/>
              <a:gd name="connsiteY1" fmla="*/ 39822 h 3476003"/>
              <a:gd name="connsiteX2" fmla="*/ 3338707 w 3456477"/>
              <a:gd name="connsiteY2" fmla="*/ 989847 h 3476003"/>
              <a:gd name="connsiteX3" fmla="*/ 3456477 w 3456477"/>
              <a:gd name="connsiteY3" fmla="*/ 995794 h 3476003"/>
              <a:gd name="connsiteX4" fmla="*/ 3456476 w 3456477"/>
              <a:gd name="connsiteY4" fmla="*/ 2994468 h 3476003"/>
              <a:gd name="connsiteX5" fmla="*/ 874323 w 3456477"/>
              <a:gd name="connsiteY5" fmla="*/ 3476003 h 3476003"/>
              <a:gd name="connsiteX6" fmla="*/ 0 w 3456477"/>
              <a:gd name="connsiteY6" fmla="*/ 998518 h 3476003"/>
              <a:gd name="connsiteX7" fmla="*/ 1729485 w 3456477"/>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7" h="3476003">
                <a:moveTo>
                  <a:pt x="1729485" y="0"/>
                </a:moveTo>
                <a:lnTo>
                  <a:pt x="1753678" y="39822"/>
                </a:lnTo>
                <a:cubicBezTo>
                  <a:pt x="2106315" y="561794"/>
                  <a:pt x="2679044" y="922855"/>
                  <a:pt x="3338707" y="989847"/>
                </a:cubicBezTo>
                <a:lnTo>
                  <a:pt x="3456477" y="995794"/>
                </a:lnTo>
                <a:lnTo>
                  <a:pt x="3456476" y="2994468"/>
                </a:lnTo>
                <a:lnTo>
                  <a:pt x="874323" y="3476003"/>
                </a:lnTo>
                <a:lnTo>
                  <a:pt x="0" y="998518"/>
                </a:lnTo>
                <a:lnTo>
                  <a:pt x="1729485" y="0"/>
                </a:lnTo>
                <a:close/>
              </a:path>
            </a:pathLst>
          </a:custGeom>
          <a:solidFill>
            <a:srgbClr val="DC6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Freeform 13">
            <a:extLst>
              <a:ext uri="{FF2B5EF4-FFF2-40B4-BE49-F238E27FC236}">
                <a16:creationId xmlns:a16="http://schemas.microsoft.com/office/drawing/2014/main" id="{ACA9872C-7203-E11E-C11B-66324B22638B}"/>
              </a:ext>
            </a:extLst>
          </p:cNvPr>
          <p:cNvSpPr/>
          <p:nvPr/>
        </p:nvSpPr>
        <p:spPr>
          <a:xfrm>
            <a:off x="8521157" y="4588842"/>
            <a:ext cx="1192218" cy="1198362"/>
          </a:xfrm>
          <a:custGeom>
            <a:avLst/>
            <a:gdLst>
              <a:gd name="connsiteX0" fmla="*/ 1726990 w 3458181"/>
              <a:gd name="connsiteY0" fmla="*/ 0 h 3476003"/>
              <a:gd name="connsiteX1" fmla="*/ 3458181 w 3458181"/>
              <a:gd name="connsiteY1" fmla="*/ 999504 h 3476003"/>
              <a:gd name="connsiteX2" fmla="*/ 2584206 w 3458181"/>
              <a:gd name="connsiteY2" fmla="*/ 3476003 h 3476003"/>
              <a:gd name="connsiteX3" fmla="*/ 0 w 3458181"/>
              <a:gd name="connsiteY3" fmla="*/ 2994085 h 3476003"/>
              <a:gd name="connsiteX4" fmla="*/ 0 w 3458181"/>
              <a:gd name="connsiteY4" fmla="*/ 995794 h 3476003"/>
              <a:gd name="connsiteX5" fmla="*/ 117768 w 3458181"/>
              <a:gd name="connsiteY5" fmla="*/ 989847 h 3476003"/>
              <a:gd name="connsiteX6" fmla="*/ 1702797 w 3458181"/>
              <a:gd name="connsiteY6" fmla="*/ 39822 h 3476003"/>
              <a:gd name="connsiteX7" fmla="*/ 1726990 w 3458181"/>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1" h="3476003">
                <a:moveTo>
                  <a:pt x="1726990" y="0"/>
                </a:moveTo>
                <a:lnTo>
                  <a:pt x="3458181" y="999504"/>
                </a:lnTo>
                <a:lnTo>
                  <a:pt x="2584206" y="3476003"/>
                </a:lnTo>
                <a:lnTo>
                  <a:pt x="0" y="2994085"/>
                </a:lnTo>
                <a:lnTo>
                  <a:pt x="0" y="995794"/>
                </a:lnTo>
                <a:lnTo>
                  <a:pt x="117768" y="989847"/>
                </a:lnTo>
                <a:cubicBezTo>
                  <a:pt x="777431" y="922855"/>
                  <a:pt x="1350160" y="561794"/>
                  <a:pt x="1702797" y="39822"/>
                </a:cubicBezTo>
                <a:lnTo>
                  <a:pt x="172699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3" name="TextBox 41">
            <a:extLst>
              <a:ext uri="{FF2B5EF4-FFF2-40B4-BE49-F238E27FC236}">
                <a16:creationId xmlns:a16="http://schemas.microsoft.com/office/drawing/2014/main" id="{E0E6E404-C6C2-4D95-A9A0-4C746A07C466}"/>
              </a:ext>
            </a:extLst>
          </p:cNvPr>
          <p:cNvSpPr txBox="1"/>
          <p:nvPr/>
        </p:nvSpPr>
        <p:spPr>
          <a:xfrm>
            <a:off x="5632381" y="2579125"/>
            <a:ext cx="1439878" cy="584775"/>
          </a:xfrm>
          <a:prstGeom prst="rect">
            <a:avLst/>
          </a:prstGeom>
          <a:noFill/>
        </p:spPr>
        <p:txBody>
          <a:bodyPr wrap="square" rtlCol="0" anchor="b" anchorCtr="0">
            <a:spAutoFit/>
          </a:bodyPr>
          <a:lstStyle/>
          <a:p>
            <a:pPr algn="r"/>
            <a:r>
              <a:rPr lang="en-GB" sz="1600" b="1" dirty="0">
                <a:solidFill>
                  <a:srgbClr val="EDA13E"/>
                </a:solidFill>
                <a:ea typeface="League Spartan" charset="0"/>
                <a:cs typeface="Poppins" pitchFamily="2" charset="77"/>
              </a:rPr>
              <a:t>Έλεγχοι προμηθευτών</a:t>
            </a:r>
          </a:p>
        </p:txBody>
      </p:sp>
      <p:sp>
        <p:nvSpPr>
          <p:cNvPr id="54" name="TextBox 43">
            <a:extLst>
              <a:ext uri="{FF2B5EF4-FFF2-40B4-BE49-F238E27FC236}">
                <a16:creationId xmlns:a16="http://schemas.microsoft.com/office/drawing/2014/main" id="{3C87299B-A665-F4D8-9137-8F947B1561F0}"/>
              </a:ext>
            </a:extLst>
          </p:cNvPr>
          <p:cNvSpPr txBox="1"/>
          <p:nvPr/>
        </p:nvSpPr>
        <p:spPr>
          <a:xfrm>
            <a:off x="9941010" y="2522816"/>
            <a:ext cx="1461271" cy="830997"/>
          </a:xfrm>
          <a:prstGeom prst="rect">
            <a:avLst/>
          </a:prstGeom>
          <a:noFill/>
        </p:spPr>
        <p:txBody>
          <a:bodyPr wrap="square" rtlCol="0" anchor="b" anchorCtr="0">
            <a:spAutoFit/>
          </a:bodyPr>
          <a:lstStyle/>
          <a:p>
            <a:r>
              <a:rPr lang="en-GB" sz="1600" b="1" dirty="0">
                <a:solidFill>
                  <a:srgbClr val="245473"/>
                </a:solidFill>
                <a:ea typeface="League Spartan" charset="0"/>
                <a:cs typeface="Poppins" pitchFamily="2" charset="77"/>
              </a:rPr>
              <a:t>Αρχεία ατυχημάτων ασφαλείας</a:t>
            </a:r>
          </a:p>
        </p:txBody>
      </p:sp>
      <p:sp>
        <p:nvSpPr>
          <p:cNvPr id="55" name="TextBox 45">
            <a:extLst>
              <a:ext uri="{FF2B5EF4-FFF2-40B4-BE49-F238E27FC236}">
                <a16:creationId xmlns:a16="http://schemas.microsoft.com/office/drawing/2014/main" id="{3E207B45-F2F0-C13D-0693-7C455D99E56E}"/>
              </a:ext>
            </a:extLst>
          </p:cNvPr>
          <p:cNvSpPr txBox="1"/>
          <p:nvPr/>
        </p:nvSpPr>
        <p:spPr>
          <a:xfrm>
            <a:off x="6096000" y="5202429"/>
            <a:ext cx="1124768" cy="584775"/>
          </a:xfrm>
          <a:prstGeom prst="rect">
            <a:avLst/>
          </a:prstGeom>
          <a:noFill/>
        </p:spPr>
        <p:txBody>
          <a:bodyPr wrap="square" rtlCol="0" anchor="b" anchorCtr="0">
            <a:spAutoFit/>
          </a:bodyPr>
          <a:lstStyle/>
          <a:p>
            <a:pPr algn="r"/>
            <a:r>
              <a:rPr lang="en-GB" sz="1600" b="1" dirty="0">
                <a:solidFill>
                  <a:srgbClr val="D66A35"/>
                </a:solidFill>
                <a:ea typeface="League Spartan" charset="0"/>
                <a:cs typeface="Poppins" pitchFamily="2" charset="77"/>
              </a:rPr>
              <a:t>Έλεγχοι κινδύνου</a:t>
            </a:r>
          </a:p>
        </p:txBody>
      </p:sp>
      <p:sp>
        <p:nvSpPr>
          <p:cNvPr id="56" name="TextBox 47">
            <a:extLst>
              <a:ext uri="{FF2B5EF4-FFF2-40B4-BE49-F238E27FC236}">
                <a16:creationId xmlns:a16="http://schemas.microsoft.com/office/drawing/2014/main" id="{7BA49254-5EFF-2EF7-3973-BBE42B0064A3}"/>
              </a:ext>
            </a:extLst>
          </p:cNvPr>
          <p:cNvSpPr txBox="1"/>
          <p:nvPr/>
        </p:nvSpPr>
        <p:spPr>
          <a:xfrm>
            <a:off x="9713374" y="5236460"/>
            <a:ext cx="1040670" cy="338554"/>
          </a:xfrm>
          <a:prstGeom prst="rect">
            <a:avLst/>
          </a:prstGeom>
          <a:noFill/>
        </p:spPr>
        <p:txBody>
          <a:bodyPr wrap="none" rtlCol="0" anchor="b" anchorCtr="0">
            <a:spAutoFit/>
          </a:bodyPr>
          <a:lstStyle/>
          <a:p>
            <a:r>
              <a:rPr lang="en-GB" sz="1600" b="1" dirty="0">
                <a:solidFill>
                  <a:srgbClr val="B41F7A"/>
                </a:solidFill>
                <a:ea typeface="League Spartan" charset="0"/>
                <a:cs typeface="Poppins" pitchFamily="2" charset="77"/>
              </a:rPr>
              <a:t>HR-Audits</a:t>
            </a:r>
          </a:p>
        </p:txBody>
      </p:sp>
      <p:sp>
        <p:nvSpPr>
          <p:cNvPr id="57" name="TextBox 49">
            <a:extLst>
              <a:ext uri="{FF2B5EF4-FFF2-40B4-BE49-F238E27FC236}">
                <a16:creationId xmlns:a16="http://schemas.microsoft.com/office/drawing/2014/main" id="{B70237B9-9105-05AA-0A09-338B652DB1BE}"/>
              </a:ext>
            </a:extLst>
          </p:cNvPr>
          <p:cNvSpPr txBox="1"/>
          <p:nvPr/>
        </p:nvSpPr>
        <p:spPr>
          <a:xfrm>
            <a:off x="5295755" y="4013027"/>
            <a:ext cx="1288384" cy="584775"/>
          </a:xfrm>
          <a:prstGeom prst="rect">
            <a:avLst/>
          </a:prstGeom>
          <a:noFill/>
        </p:spPr>
        <p:txBody>
          <a:bodyPr wrap="square" rtlCol="0" anchor="b" anchorCtr="0">
            <a:spAutoFit/>
          </a:bodyPr>
          <a:lstStyle/>
          <a:p>
            <a:pPr algn="r"/>
            <a:r>
              <a:rPr lang="en-GB" sz="1600" b="1" dirty="0">
                <a:solidFill>
                  <a:srgbClr val="F16924"/>
                </a:solidFill>
                <a:ea typeface="League Spartan" charset="0"/>
                <a:cs typeface="Poppins" pitchFamily="2" charset="77"/>
              </a:rPr>
              <a:t>Οικονομικοί έλεγχοι</a:t>
            </a:r>
          </a:p>
        </p:txBody>
      </p:sp>
      <p:sp>
        <p:nvSpPr>
          <p:cNvPr id="58" name="TextBox 51">
            <a:extLst>
              <a:ext uri="{FF2B5EF4-FFF2-40B4-BE49-F238E27FC236}">
                <a16:creationId xmlns:a16="http://schemas.microsoft.com/office/drawing/2014/main" id="{4E359F74-AA79-2E16-4F5D-7CCD4E74AF96}"/>
              </a:ext>
            </a:extLst>
          </p:cNvPr>
          <p:cNvSpPr txBox="1"/>
          <p:nvPr/>
        </p:nvSpPr>
        <p:spPr>
          <a:xfrm>
            <a:off x="10374172" y="4013026"/>
            <a:ext cx="1300589" cy="584775"/>
          </a:xfrm>
          <a:prstGeom prst="rect">
            <a:avLst/>
          </a:prstGeom>
          <a:noFill/>
        </p:spPr>
        <p:txBody>
          <a:bodyPr wrap="square" rtlCol="0" anchor="b" anchorCtr="0">
            <a:spAutoFit/>
          </a:bodyPr>
          <a:lstStyle/>
          <a:p>
            <a:r>
              <a:rPr lang="en-GB" sz="1600" b="1" dirty="0">
                <a:solidFill>
                  <a:srgbClr val="7F1C58"/>
                </a:solidFill>
                <a:ea typeface="League Spartan" charset="0"/>
                <a:cs typeface="Poppins" pitchFamily="2" charset="77"/>
              </a:rPr>
              <a:t>Έκθεση ευθύνης</a:t>
            </a:r>
          </a:p>
        </p:txBody>
      </p:sp>
      <p:sp>
        <p:nvSpPr>
          <p:cNvPr id="59" name="Oval 62">
            <a:extLst>
              <a:ext uri="{FF2B5EF4-FFF2-40B4-BE49-F238E27FC236}">
                <a16:creationId xmlns:a16="http://schemas.microsoft.com/office/drawing/2014/main" id="{5CE1CD72-98BC-DCD2-7F3B-7478086FD59F}"/>
              </a:ext>
            </a:extLst>
          </p:cNvPr>
          <p:cNvSpPr/>
          <p:nvPr/>
        </p:nvSpPr>
        <p:spPr>
          <a:xfrm>
            <a:off x="7727055" y="3424103"/>
            <a:ext cx="1516404" cy="151640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0" name="TextBox 43">
            <a:extLst>
              <a:ext uri="{FF2B5EF4-FFF2-40B4-BE49-F238E27FC236}">
                <a16:creationId xmlns:a16="http://schemas.microsoft.com/office/drawing/2014/main" id="{9809DCCE-5526-52A5-A045-B5172F136686}"/>
              </a:ext>
            </a:extLst>
          </p:cNvPr>
          <p:cNvSpPr txBox="1"/>
          <p:nvPr/>
        </p:nvSpPr>
        <p:spPr>
          <a:xfrm>
            <a:off x="8682978" y="2743429"/>
            <a:ext cx="1461271"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1</a:t>
            </a:r>
          </a:p>
        </p:txBody>
      </p:sp>
      <p:sp>
        <p:nvSpPr>
          <p:cNvPr id="61" name="TextBox 43">
            <a:extLst>
              <a:ext uri="{FF2B5EF4-FFF2-40B4-BE49-F238E27FC236}">
                <a16:creationId xmlns:a16="http://schemas.microsoft.com/office/drawing/2014/main" id="{219C6B6D-FADD-6C34-CFB2-849478A32D69}"/>
              </a:ext>
            </a:extLst>
          </p:cNvPr>
          <p:cNvSpPr txBox="1"/>
          <p:nvPr/>
        </p:nvSpPr>
        <p:spPr>
          <a:xfrm>
            <a:off x="9347476" y="3766808"/>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2</a:t>
            </a:r>
          </a:p>
        </p:txBody>
      </p:sp>
      <p:sp>
        <p:nvSpPr>
          <p:cNvPr id="62" name="TextBox 43">
            <a:extLst>
              <a:ext uri="{FF2B5EF4-FFF2-40B4-BE49-F238E27FC236}">
                <a16:creationId xmlns:a16="http://schemas.microsoft.com/office/drawing/2014/main" id="{2B949166-77D9-C4DA-138E-7357CF7D3661}"/>
              </a:ext>
            </a:extLst>
          </p:cNvPr>
          <p:cNvSpPr txBox="1"/>
          <p:nvPr/>
        </p:nvSpPr>
        <p:spPr>
          <a:xfrm>
            <a:off x="8747744" y="4828559"/>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3</a:t>
            </a:r>
          </a:p>
        </p:txBody>
      </p:sp>
      <p:sp>
        <p:nvSpPr>
          <p:cNvPr id="63" name="TextBox 43">
            <a:extLst>
              <a:ext uri="{FF2B5EF4-FFF2-40B4-BE49-F238E27FC236}">
                <a16:creationId xmlns:a16="http://schemas.microsoft.com/office/drawing/2014/main" id="{C972FDBC-2B7D-623E-EB9A-7A8CDA85BA40}"/>
              </a:ext>
            </a:extLst>
          </p:cNvPr>
          <p:cNvSpPr txBox="1"/>
          <p:nvPr/>
        </p:nvSpPr>
        <p:spPr>
          <a:xfrm>
            <a:off x="7506188" y="4834110"/>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4</a:t>
            </a:r>
          </a:p>
        </p:txBody>
      </p:sp>
      <p:sp>
        <p:nvSpPr>
          <p:cNvPr id="64" name="TextBox 43">
            <a:extLst>
              <a:ext uri="{FF2B5EF4-FFF2-40B4-BE49-F238E27FC236}">
                <a16:creationId xmlns:a16="http://schemas.microsoft.com/office/drawing/2014/main" id="{91D89B25-77D7-335F-7865-E5AF71F145A6}"/>
              </a:ext>
            </a:extLst>
          </p:cNvPr>
          <p:cNvSpPr txBox="1"/>
          <p:nvPr/>
        </p:nvSpPr>
        <p:spPr>
          <a:xfrm>
            <a:off x="6890676" y="3749258"/>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5</a:t>
            </a:r>
          </a:p>
        </p:txBody>
      </p:sp>
      <p:sp>
        <p:nvSpPr>
          <p:cNvPr id="65" name="TextBox 43">
            <a:extLst>
              <a:ext uri="{FF2B5EF4-FFF2-40B4-BE49-F238E27FC236}">
                <a16:creationId xmlns:a16="http://schemas.microsoft.com/office/drawing/2014/main" id="{139AB9F0-9446-7F09-36B2-91AF69C38C32}"/>
              </a:ext>
            </a:extLst>
          </p:cNvPr>
          <p:cNvSpPr txBox="1"/>
          <p:nvPr/>
        </p:nvSpPr>
        <p:spPr>
          <a:xfrm>
            <a:off x="7558616" y="2762431"/>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6</a:t>
            </a:r>
          </a:p>
        </p:txBody>
      </p:sp>
    </p:spTree>
    <p:extLst>
      <p:ext uri="{BB962C8B-B14F-4D97-AF65-F5344CB8AC3E}">
        <p14:creationId xmlns:p14="http://schemas.microsoft.com/office/powerpoint/2010/main" val="22906504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81503" y="1379071"/>
            <a:ext cx="4965312" cy="3423588"/>
          </a:xfrm>
        </p:spPr>
        <p:txBody>
          <a:bodyPr>
            <a:normAutofit/>
          </a:bodyPr>
          <a:lstStyle/>
          <a:p>
            <a:r>
              <a:rPr lang="en-US" sz="4000" dirty="0"/>
              <a:t>ΕΠΙΣΚ</a:t>
            </a:r>
            <a:r>
              <a:rPr lang="el-GR" sz="4000" dirty="0"/>
              <a:t>Ο</a:t>
            </a:r>
            <a:r>
              <a:rPr lang="en-US" sz="4000" dirty="0"/>
              <a:t>ΠΗΣΗ ΤΩΝ 3 Φ</a:t>
            </a:r>
            <a:r>
              <a:rPr lang="el-GR" sz="4000" dirty="0"/>
              <a:t>Α</a:t>
            </a:r>
            <a:r>
              <a:rPr lang="en-US" sz="4000" dirty="0"/>
              <a:t>ΣΕΩΝ ΤΗΣ SME/ΕΠΙΧΕΙΡΗΣΙΑΚ</a:t>
            </a:r>
            <a:r>
              <a:rPr lang="el-GR" sz="4000" dirty="0"/>
              <a:t>Η</a:t>
            </a:r>
            <a:r>
              <a:rPr lang="en-US" sz="4000" dirty="0"/>
              <a:t>Σ ΚΡ</a:t>
            </a:r>
            <a:r>
              <a:rPr lang="el-GR" sz="4000" dirty="0"/>
              <a:t>Ι</a:t>
            </a:r>
            <a:r>
              <a:rPr lang="en-US" sz="4000" dirty="0"/>
              <a:t>ΣΗΣ</a:t>
            </a:r>
          </a:p>
        </p:txBody>
      </p:sp>
      <p:sp>
        <p:nvSpPr>
          <p:cNvPr id="3" name="Text Placeholder 2">
            <a:extLst>
              <a:ext uri="{FF2B5EF4-FFF2-40B4-BE49-F238E27FC236}">
                <a16:creationId xmlns:a16="http://schemas.microsoft.com/office/drawing/2014/main" id="{4D716622-58AE-EEA0-6E43-54FC2F8C5D44}"/>
              </a:ext>
            </a:extLst>
          </p:cNvPr>
          <p:cNvSpPr>
            <a:spLocks noGrp="1"/>
          </p:cNvSpPr>
          <p:nvPr>
            <p:ph type="body" sz="quarter" idx="17"/>
          </p:nvPr>
        </p:nvSpPr>
        <p:spPr/>
        <p:txBody>
          <a:bodyPr/>
          <a:lstStyle/>
          <a:p>
            <a:r>
              <a:rPr lang="en-US" dirty="0"/>
              <a:t>05</a:t>
            </a:r>
          </a:p>
        </p:txBody>
      </p:sp>
    </p:spTree>
    <p:extLst>
      <p:ext uri="{BB962C8B-B14F-4D97-AF65-F5344CB8AC3E}">
        <p14:creationId xmlns:p14="http://schemas.microsoft.com/office/powerpoint/2010/main" val="8766964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15912" cy="3997334"/>
          </a:xfrm>
        </p:spPr>
        <p:txBody>
          <a:bodyPr>
            <a:normAutofit fontScale="77500" lnSpcReduction="20000"/>
          </a:bodyPr>
          <a:lstStyle/>
          <a:p>
            <a:r>
              <a:rPr lang="en-GB" dirty="0">
                <a:solidFill>
                  <a:schemeClr val="bg1"/>
                </a:solidFill>
              </a:rPr>
              <a:t>Έτσι, η κρίση είναι ορατή. Ας επανεξετάσουμε τις </a:t>
            </a:r>
            <a:r>
              <a:rPr lang="en-GB" b="1" dirty="0">
                <a:solidFill>
                  <a:schemeClr val="bg1"/>
                </a:solidFill>
              </a:rPr>
              <a:t>3 φάσεις της κρίσης των ΜΜΕ/επιχειρήσεων, </a:t>
            </a:r>
            <a:r>
              <a:rPr lang="en-GB" dirty="0">
                <a:solidFill>
                  <a:schemeClr val="bg1"/>
                </a:solidFill>
              </a:rPr>
              <a:t>πριν εμβαθύνουμε στην εξέταση της κρίσης στις Ενότητες που ακολουθούν. </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6007408" y="1421767"/>
            <a:ext cx="5972442" cy="7940635"/>
          </a:xfrm>
          <a:prstGeom prst="rect">
            <a:avLst/>
          </a:prstGeom>
          <a:noFill/>
        </p:spPr>
        <p:txBody>
          <a:bodyPr wrap="square" rtlCol="0">
            <a:spAutoFit/>
          </a:bodyPr>
          <a:lstStyle/>
          <a:p>
            <a:pPr>
              <a:defRPr/>
            </a:pPr>
            <a:r>
              <a:rPr lang="en-US" sz="3400" dirty="0">
                <a:solidFill>
                  <a:srgbClr val="F16924"/>
                </a:solidFill>
              </a:rPr>
              <a:t>01 </a:t>
            </a:r>
            <a:r>
              <a:rPr lang="en-GB" sz="3400" b="1" dirty="0">
                <a:solidFill>
                  <a:srgbClr val="B41F7A"/>
                </a:solidFill>
                <a:ea typeface="Roboto" charset="0"/>
                <a:cs typeface="Roboto" charset="0"/>
              </a:rPr>
              <a:t>Φάση πριν από την κρίση</a:t>
            </a:r>
          </a:p>
          <a:p>
            <a:pPr>
              <a:defRPr/>
            </a:pPr>
            <a:endParaRPr lang="en-US" sz="3400" dirty="0">
              <a:solidFill>
                <a:srgbClr val="F16924"/>
              </a:solidFill>
            </a:endParaRPr>
          </a:p>
          <a:p>
            <a:pPr>
              <a:defRPr/>
            </a:pPr>
            <a:endParaRPr lang="en-US" sz="3400" dirty="0">
              <a:solidFill>
                <a:srgbClr val="F16924"/>
              </a:solidFill>
            </a:endParaRPr>
          </a:p>
          <a:p>
            <a:pPr>
              <a:defRPr/>
            </a:pPr>
            <a:endParaRPr lang="en-US" sz="3400" dirty="0">
              <a:solidFill>
                <a:srgbClr val="F16924"/>
              </a:solidFill>
            </a:endParaRPr>
          </a:p>
          <a:p>
            <a:pPr>
              <a:defRPr/>
            </a:pPr>
            <a:r>
              <a:rPr lang="en-US" sz="3400" dirty="0">
                <a:solidFill>
                  <a:srgbClr val="F16924"/>
                </a:solidFill>
              </a:rPr>
              <a:t>02 </a:t>
            </a:r>
            <a:r>
              <a:rPr lang="en-GB" sz="3400" b="1" dirty="0">
                <a:solidFill>
                  <a:srgbClr val="B41F7A"/>
                </a:solidFill>
                <a:ea typeface="Roboto" charset="0"/>
                <a:cs typeface="Roboto" charset="0"/>
              </a:rPr>
              <a:t>Αντιμετώπιση κρίσεων</a:t>
            </a:r>
          </a:p>
          <a:p>
            <a:pPr>
              <a:defRPr/>
            </a:pPr>
            <a:endParaRPr lang="en-US" sz="3400" dirty="0">
              <a:solidFill>
                <a:srgbClr val="F16924"/>
              </a:solidFill>
            </a:endParaRPr>
          </a:p>
          <a:p>
            <a:pPr>
              <a:defRPr/>
            </a:pPr>
            <a:endParaRPr lang="en-US" sz="3400" dirty="0">
              <a:solidFill>
                <a:srgbClr val="F16924"/>
              </a:solidFill>
            </a:endParaRPr>
          </a:p>
          <a:p>
            <a:pPr>
              <a:defRPr/>
            </a:pPr>
            <a:endParaRPr lang="en-US" sz="3400" dirty="0">
              <a:solidFill>
                <a:srgbClr val="F16924"/>
              </a:solidFill>
            </a:endParaRPr>
          </a:p>
          <a:p>
            <a:pPr>
              <a:defRPr/>
            </a:pPr>
            <a:r>
              <a:rPr lang="en-US" sz="3400" dirty="0">
                <a:solidFill>
                  <a:srgbClr val="F16924"/>
                </a:solidFill>
              </a:rPr>
              <a:t>03 </a:t>
            </a:r>
            <a:r>
              <a:rPr lang="en-GB" sz="3400" b="1" dirty="0">
                <a:solidFill>
                  <a:srgbClr val="B41F7A"/>
                </a:solidFill>
                <a:ea typeface="Roboto" charset="0"/>
                <a:cs typeface="Roboto" charset="0"/>
              </a:rPr>
              <a:t>Φάση μετά την κρίση</a:t>
            </a:r>
          </a:p>
          <a:p>
            <a:pPr lvl="0">
              <a:defRPr/>
            </a:pPr>
            <a:endParaRPr lang="en-GB" sz="3400" b="1" dirty="0">
              <a:solidFill>
                <a:srgbClr val="595959"/>
              </a:solidFill>
              <a:ea typeface="Roboto" charset="0"/>
              <a:cs typeface="Roboto" charset="0"/>
            </a:endParaRPr>
          </a:p>
          <a:p>
            <a:pPr lvl="0">
              <a:defRPr/>
            </a:pPr>
            <a:endParaRPr lang="en-GB" sz="3400" b="1" dirty="0">
              <a:solidFill>
                <a:srgbClr val="595959"/>
              </a:solidFill>
              <a:ea typeface="Roboto" charset="0"/>
              <a:cs typeface="Roboto" charset="0"/>
            </a:endParaRPr>
          </a:p>
          <a:p>
            <a:pPr lvl="0">
              <a:defRPr/>
            </a:pPr>
            <a:r>
              <a:rPr lang="en-GB" sz="3400" b="1" dirty="0">
                <a:solidFill>
                  <a:srgbClr val="595959"/>
                </a:solidFill>
                <a:ea typeface="Roboto" charset="0"/>
                <a:cs typeface="Roboto" charset="0"/>
              </a:rPr>
              <a:t> </a:t>
            </a:r>
          </a:p>
          <a:p>
            <a:pPr lvl="0">
              <a:defRPr/>
            </a:pPr>
            <a:endParaRPr lang="en-GB" sz="3400" b="1" dirty="0">
              <a:solidFill>
                <a:srgbClr val="595959"/>
              </a:solidFill>
              <a:ea typeface="Roboto" charset="0"/>
              <a:cs typeface="Roboto" charset="0"/>
            </a:endParaRPr>
          </a:p>
          <a:p>
            <a:pPr lvl="0">
              <a:defRPr/>
            </a:pPr>
            <a:endParaRPr lang="en-GB" sz="34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4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694225" y="510026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46" name="Straight Connector 45">
            <a:extLst>
              <a:ext uri="{FF2B5EF4-FFF2-40B4-BE49-F238E27FC236}">
                <a16:creationId xmlns:a16="http://schemas.microsoft.com/office/drawing/2014/main" id="{16C92E9C-EE6C-8FBA-DC1E-094C9CD5A274}"/>
              </a:ext>
            </a:extLst>
          </p:cNvPr>
          <p:cNvCxnSpPr>
            <a:cxnSpLocks/>
          </p:cNvCxnSpPr>
          <p:nvPr/>
        </p:nvCxnSpPr>
        <p:spPr>
          <a:xfrm>
            <a:off x="4235748" y="2848327"/>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96EBBC0-F6AA-755D-0C02-D21D3B310FF0}"/>
              </a:ext>
            </a:extLst>
          </p:cNvPr>
          <p:cNvCxnSpPr>
            <a:cxnSpLocks/>
          </p:cNvCxnSpPr>
          <p:nvPr/>
        </p:nvCxnSpPr>
        <p:spPr>
          <a:xfrm>
            <a:off x="4235749" y="4767168"/>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3BAA323-EDD5-D89F-4366-5568362AA71D}"/>
              </a:ext>
            </a:extLst>
          </p:cNvPr>
          <p:cNvGrpSpPr/>
          <p:nvPr/>
        </p:nvGrpSpPr>
        <p:grpSpPr>
          <a:xfrm>
            <a:off x="4701168" y="1567950"/>
            <a:ext cx="981481" cy="983918"/>
            <a:chOff x="3728648" y="2288053"/>
            <a:chExt cx="1103278" cy="1106017"/>
          </a:xfrm>
        </p:grpSpPr>
        <p:sp>
          <p:nvSpPr>
            <p:cNvPr id="47" name="Freeform 46">
              <a:extLst>
                <a:ext uri="{FF2B5EF4-FFF2-40B4-BE49-F238E27FC236}">
                  <a16:creationId xmlns:a16="http://schemas.microsoft.com/office/drawing/2014/main" id="{8E18673B-7342-F67D-A21D-68AE9EC06168}"/>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3321DA7A-DC23-788B-A343-BE011CF79E8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2E5182E3-36EF-F5C4-51DB-F9B75C824CC2}"/>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C271799D-FB95-2AD3-ECE7-D36FCE3BCCBD}"/>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113F2545-1B65-C79C-324F-83F445F6C231}"/>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9DD4905B-5FBB-5778-12D0-1B9984596C4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3EC4F7F8-CE00-D528-CF71-C8298FF40C68}"/>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9D262537-16C5-176D-8A9C-D0A62F4EAC8B}"/>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DBE59055-2514-87FD-1DDD-8D5F330E088A}"/>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CBE48E0E-3559-AA1C-FC18-96E1E0B00B72}"/>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6AD70998-65BA-EB34-9F09-EF2FCE1715CE}"/>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B42047C3-3211-727F-4636-97C480D51F6F}"/>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grpSp>
        <p:nvGrpSpPr>
          <p:cNvPr id="59" name="Group 58">
            <a:extLst>
              <a:ext uri="{FF2B5EF4-FFF2-40B4-BE49-F238E27FC236}">
                <a16:creationId xmlns:a16="http://schemas.microsoft.com/office/drawing/2014/main" id="{BD6E5C2A-6475-4E51-6845-7C6A232F8719}"/>
              </a:ext>
            </a:extLst>
          </p:cNvPr>
          <p:cNvGrpSpPr/>
          <p:nvPr/>
        </p:nvGrpSpPr>
        <p:grpSpPr>
          <a:xfrm>
            <a:off x="4671982" y="3195497"/>
            <a:ext cx="1120532" cy="1122696"/>
            <a:chOff x="7284496" y="2127428"/>
            <a:chExt cx="2245645" cy="2249982"/>
          </a:xfrm>
          <a:solidFill>
            <a:srgbClr val="595959"/>
          </a:solidFill>
        </p:grpSpPr>
        <p:grpSp>
          <p:nvGrpSpPr>
            <p:cNvPr id="60" name="Graphic 3">
              <a:extLst>
                <a:ext uri="{FF2B5EF4-FFF2-40B4-BE49-F238E27FC236}">
                  <a16:creationId xmlns:a16="http://schemas.microsoft.com/office/drawing/2014/main" id="{C71FCD37-D6B5-1EBA-C7FB-EFD62E6C24E0}"/>
                </a:ext>
              </a:extLst>
            </p:cNvPr>
            <p:cNvGrpSpPr/>
            <p:nvPr/>
          </p:nvGrpSpPr>
          <p:grpSpPr>
            <a:xfrm>
              <a:off x="7284496" y="2127428"/>
              <a:ext cx="2245645" cy="2249982"/>
              <a:chOff x="5098317" y="2100784"/>
              <a:chExt cx="2245645" cy="2249982"/>
            </a:xfrm>
            <a:grpFill/>
          </p:grpSpPr>
          <p:sp>
            <p:nvSpPr>
              <p:cNvPr id="64" name="Freeform 63">
                <a:extLst>
                  <a:ext uri="{FF2B5EF4-FFF2-40B4-BE49-F238E27FC236}">
                    <a16:creationId xmlns:a16="http://schemas.microsoft.com/office/drawing/2014/main" id="{CB9DD4F8-F7C4-D7C7-0670-7EBF792477DB}"/>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5" name="Freeform 64">
                <a:extLst>
                  <a:ext uri="{FF2B5EF4-FFF2-40B4-BE49-F238E27FC236}">
                    <a16:creationId xmlns:a16="http://schemas.microsoft.com/office/drawing/2014/main" id="{0B565F42-ECE8-A743-B813-AFBEDA7C874A}"/>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66" name="Freeform 65">
                <a:extLst>
                  <a:ext uri="{FF2B5EF4-FFF2-40B4-BE49-F238E27FC236}">
                    <a16:creationId xmlns:a16="http://schemas.microsoft.com/office/drawing/2014/main" id="{F6C39C2E-7799-6504-CD97-8AE218988A77}"/>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1C64AB91-B0DD-4F52-C87F-40D17AB4AE31}"/>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ACD0ABD3-51AA-C825-B59C-C062DD05E993}"/>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D4C5D35B-A0C6-DE06-506C-3BD58016B4BF}"/>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1" name="Graphic 3">
              <a:extLst>
                <a:ext uri="{FF2B5EF4-FFF2-40B4-BE49-F238E27FC236}">
                  <a16:creationId xmlns:a16="http://schemas.microsoft.com/office/drawing/2014/main" id="{0D865F95-EA49-96DD-8DBA-7C61E718CBEE}"/>
                </a:ext>
              </a:extLst>
            </p:cNvPr>
            <p:cNvGrpSpPr/>
            <p:nvPr/>
          </p:nvGrpSpPr>
          <p:grpSpPr>
            <a:xfrm>
              <a:off x="8878245" y="2200268"/>
              <a:ext cx="144167" cy="725714"/>
              <a:chOff x="6692066" y="2173624"/>
              <a:chExt cx="144167" cy="725714"/>
            </a:xfrm>
            <a:grpFill/>
          </p:grpSpPr>
          <p:sp>
            <p:nvSpPr>
              <p:cNvPr id="62" name="Freeform 61">
                <a:extLst>
                  <a:ext uri="{FF2B5EF4-FFF2-40B4-BE49-F238E27FC236}">
                    <a16:creationId xmlns:a16="http://schemas.microsoft.com/office/drawing/2014/main" id="{1A25F9BB-555D-06CA-5F0F-683F3D459665}"/>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7E117572-C7BE-9296-B9DC-21292F2A6144}"/>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grpSp>
        <p:nvGrpSpPr>
          <p:cNvPr id="70" name="Group 69">
            <a:extLst>
              <a:ext uri="{FF2B5EF4-FFF2-40B4-BE49-F238E27FC236}">
                <a16:creationId xmlns:a16="http://schemas.microsoft.com/office/drawing/2014/main" id="{D1FA74C9-2D08-4E1A-D450-5B040F345034}"/>
              </a:ext>
            </a:extLst>
          </p:cNvPr>
          <p:cNvGrpSpPr/>
          <p:nvPr/>
        </p:nvGrpSpPr>
        <p:grpSpPr>
          <a:xfrm>
            <a:off x="4664302" y="4958386"/>
            <a:ext cx="1018347" cy="1181853"/>
            <a:chOff x="8360213" y="3458151"/>
            <a:chExt cx="853935" cy="991043"/>
          </a:xfrm>
          <a:solidFill>
            <a:srgbClr val="595959"/>
          </a:solidFill>
        </p:grpSpPr>
        <p:grpSp>
          <p:nvGrpSpPr>
            <p:cNvPr id="71" name="Graphic 2">
              <a:extLst>
                <a:ext uri="{FF2B5EF4-FFF2-40B4-BE49-F238E27FC236}">
                  <a16:creationId xmlns:a16="http://schemas.microsoft.com/office/drawing/2014/main" id="{05A00CD6-25C3-3703-6BC3-2F2C6A0A0F17}"/>
                </a:ext>
              </a:extLst>
            </p:cNvPr>
            <p:cNvGrpSpPr/>
            <p:nvPr userDrawn="1"/>
          </p:nvGrpSpPr>
          <p:grpSpPr>
            <a:xfrm>
              <a:off x="8599192" y="3595917"/>
              <a:ext cx="375982" cy="204367"/>
              <a:chOff x="2642504" y="3763150"/>
              <a:chExt cx="375982" cy="204367"/>
            </a:xfrm>
            <a:grpFill/>
          </p:grpSpPr>
          <p:sp>
            <p:nvSpPr>
              <p:cNvPr id="77" name="Freeform 76">
                <a:extLst>
                  <a:ext uri="{FF2B5EF4-FFF2-40B4-BE49-F238E27FC236}">
                    <a16:creationId xmlns:a16="http://schemas.microsoft.com/office/drawing/2014/main" id="{B0C46DCC-EF7B-4939-A294-6C9D27163F30}"/>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872C3D66-041B-B514-9A4A-64AF5346FF8F}"/>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endParaRPr lang="en-US"/>
              </a:p>
            </p:txBody>
          </p:sp>
        </p:grpSp>
        <p:grpSp>
          <p:nvGrpSpPr>
            <p:cNvPr id="72" name="Graphic 2">
              <a:extLst>
                <a:ext uri="{FF2B5EF4-FFF2-40B4-BE49-F238E27FC236}">
                  <a16:creationId xmlns:a16="http://schemas.microsoft.com/office/drawing/2014/main" id="{214FCBA0-8214-56BE-6F21-DEA8B3D9F986}"/>
                </a:ext>
              </a:extLst>
            </p:cNvPr>
            <p:cNvGrpSpPr/>
            <p:nvPr userDrawn="1"/>
          </p:nvGrpSpPr>
          <p:grpSpPr>
            <a:xfrm>
              <a:off x="8360213" y="3458151"/>
              <a:ext cx="853935" cy="991043"/>
              <a:chOff x="2403525" y="3625384"/>
              <a:chExt cx="853935" cy="991043"/>
            </a:xfrm>
            <a:grpFill/>
          </p:grpSpPr>
          <p:sp>
            <p:nvSpPr>
              <p:cNvPr id="73" name="Freeform 72">
                <a:extLst>
                  <a:ext uri="{FF2B5EF4-FFF2-40B4-BE49-F238E27FC236}">
                    <a16:creationId xmlns:a16="http://schemas.microsoft.com/office/drawing/2014/main" id="{635F6AEF-A772-C6DB-23A0-AAB68EF8F64A}"/>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F35B6F86-6232-9187-16D9-0449F8D20F6C}"/>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C3317D83-D740-AFDB-351C-D49849BD1070}"/>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DF8A5D81-7D72-35AD-D031-8E1C06E175B3}"/>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8848883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 </a:t>
            </a:r>
            <a:r>
              <a:rPr lang="el-GR" sz="4000" dirty="0">
                <a:solidFill>
                  <a:schemeClr val="bg1"/>
                </a:solidFill>
              </a:rPr>
              <a:t>	</a:t>
            </a:r>
            <a:r>
              <a:rPr lang="en-US" dirty="0" err="1">
                <a:solidFill>
                  <a:schemeClr val="bg1"/>
                </a:solidFill>
              </a:rPr>
              <a:t>Φάση</a:t>
            </a:r>
            <a:r>
              <a:rPr lang="en-US" dirty="0">
                <a:solidFill>
                  <a:schemeClr val="bg1"/>
                </a:solidFill>
              </a:rPr>
              <a:t> πριν από την κρίση</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533196" y="1544044"/>
            <a:ext cx="10658803" cy="4650317"/>
          </a:xfrm>
        </p:spPr>
        <p:txBody>
          <a:bodyPr>
            <a:noAutofit/>
          </a:bodyPr>
          <a:lstStyle/>
          <a:p>
            <a:pPr marL="12700" indent="-12700"/>
            <a:r>
              <a:rPr lang="en-GB" sz="2000" dirty="0">
                <a:latin typeface="Calibri" panose="020F0502020204030204" pitchFamily="34" charset="0"/>
                <a:ea typeface="Lato Light" panose="020F0502020204030203" pitchFamily="34" charset="0"/>
                <a:cs typeface="Calibri" panose="020F0502020204030204" pitchFamily="34" charset="0"/>
              </a:rPr>
              <a:t>Το στάδιο πριν από την κρίση είναι μια ευκαιρία για τον εντοπισμό και τη διόρθωση έγκαιρων προειδοποιητικών σημάτων για τη βελτίωση της πρόβλεψης, αλλά ποια ακριβώς είναι αυτά τα απρόβλεπτα σήματα; Για την ακρίβεια, τα σήματα βρίσκονται στα γνωστικά φίλτρα που συνθέτουν την ερμηνεία του κόσμου από τους ανθρώπους. Ονομάζονται </a:t>
            </a:r>
            <a:r>
              <a:rPr lang="en-GB" sz="2000" b="1" dirty="0">
                <a:solidFill>
                  <a:schemeClr val="bg1"/>
                </a:solidFill>
                <a:latin typeface="Calibri" panose="020F0502020204030204" pitchFamily="34" charset="0"/>
                <a:ea typeface="Lato Light" panose="020F0502020204030203" pitchFamily="34" charset="0"/>
                <a:cs typeface="Calibri" panose="020F0502020204030204" pitchFamily="34" charset="0"/>
                <a:hlinkClick r:id="rId2"/>
              </a:rPr>
              <a:t>ευρετικά </a:t>
            </a:r>
            <a:r>
              <a:rPr lang="en-GB" sz="2000" dirty="0">
                <a:latin typeface="Calibri" panose="020F0502020204030204" pitchFamily="34" charset="0"/>
                <a:ea typeface="Lato Light" panose="020F0502020204030203" pitchFamily="34" charset="0"/>
                <a:cs typeface="Calibri" panose="020F0502020204030204" pitchFamily="34" charset="0"/>
              </a:rPr>
              <a:t>- κάθε προσέγγιση στην επίλυση προβλημάτων ή στην αυτογνωσία που χρησιμοποιεί μια πρακτική μέθοδο η οποία δεν είναι εγγυημένα βέλτιστη, τέλεια ή ορθολογική, αλλά είναι ωστόσο επαρκής για την επίτευξη ενός άμεσου, βραχυπρόθεσμου στόχου ή μιας προσέγγισης</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8818454">
            <a:off x="8776650" y="5735059"/>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D621F928-289C-EF05-4889-058A6002A248}"/>
              </a:ext>
            </a:extLst>
          </p:cNvPr>
          <p:cNvSpPr txBox="1">
            <a:spLocks/>
          </p:cNvSpPr>
          <p:nvPr/>
        </p:nvSpPr>
        <p:spPr>
          <a:xfrm>
            <a:off x="526524" y="3494223"/>
            <a:ext cx="6957568" cy="259120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spcBef>
                <a:spcPts val="0"/>
              </a:spcBef>
            </a:pPr>
            <a:r>
              <a:rPr lang="en-GB" sz="2000" b="1" dirty="0">
                <a:solidFill>
                  <a:srgbClr val="B41F7A"/>
                </a:solidFill>
                <a:latin typeface="Calibri" panose="020F0502020204030204" pitchFamily="34" charset="0"/>
                <a:cs typeface="Calibri" panose="020F0502020204030204" pitchFamily="34" charset="0"/>
              </a:rPr>
              <a:t>Μειώστε το</a:t>
            </a:r>
            <a:br>
              <a:rPr lang="en-GB" sz="2000" dirty="0">
                <a:latin typeface="Calibri" panose="020F0502020204030204" pitchFamily="34" charset="0"/>
                <a:cs typeface="Calibri" panose="020F0502020204030204" pitchFamily="34" charset="0"/>
              </a:rPr>
            </a:br>
            <a:r>
              <a:rPr lang="en-GB" sz="2000" dirty="0">
                <a:latin typeface="Calibri" panose="020F0502020204030204" pitchFamily="34" charset="0"/>
                <a:cs typeface="Calibri" panose="020F0502020204030204" pitchFamily="34" charset="0"/>
              </a:rPr>
              <a:t>Προσδιορισμός και εφαρμογή ενός συνόλου δραστηριοτήτων που αποτρέπουν μια κρίση, μειώνουν την πιθανότητα να συμβεί ένα περιστατικό ή μειώνουν τις επιζήμιες συνέπειες της κρίσης.</a:t>
            </a:r>
          </a:p>
          <a:p>
            <a:pPr marL="12700" indent="-12700">
              <a:spcBef>
                <a:spcPts val="0"/>
              </a:spcBef>
            </a:pPr>
            <a:endParaRPr lang="en-GB" sz="700" dirty="0">
              <a:latin typeface="Calibri" panose="020F0502020204030204" pitchFamily="34" charset="0"/>
              <a:cs typeface="Calibri" panose="020F0502020204030204" pitchFamily="34" charset="0"/>
            </a:endParaRPr>
          </a:p>
          <a:p>
            <a:pPr marL="12700" indent="-12700">
              <a:spcBef>
                <a:spcPts val="0"/>
              </a:spcBef>
            </a:pPr>
            <a:r>
              <a:rPr lang="en-GB" sz="2000" b="1" dirty="0">
                <a:solidFill>
                  <a:srgbClr val="B41F7A"/>
                </a:solidFill>
                <a:latin typeface="Calibri" panose="020F0502020204030204" pitchFamily="34" charset="0"/>
                <a:cs typeface="Calibri" panose="020F0502020204030204" pitchFamily="34" charset="0"/>
              </a:rPr>
              <a:t>Προετοιμάστε το </a:t>
            </a:r>
          </a:p>
          <a:p>
            <a:pPr marL="12700" indent="-12700">
              <a:spcBef>
                <a:spcPts val="0"/>
              </a:spcBef>
            </a:pPr>
            <a:r>
              <a:rPr lang="en-GB" sz="2000" dirty="0">
                <a:latin typeface="Calibri" panose="020F0502020204030204" pitchFamily="34" charset="0"/>
                <a:cs typeface="Calibri" panose="020F0502020204030204" pitchFamily="34" charset="0"/>
              </a:rPr>
              <a:t>Ανάπτυξη και εφαρμογή ενός προγράμματος ή σχεδίου διαχείρισης κρίσεων που θα περιλαμβάνει διαδικασίες εφαρμογής και εκπαίδευση.</a:t>
            </a:r>
          </a:p>
          <a:p>
            <a:pPr marL="12700" indent="-12700">
              <a:spcBef>
                <a:spcPts val="0"/>
              </a:spcBef>
            </a:pPr>
            <a:endParaRPr lang="en-GB" sz="2200" dirty="0">
              <a:latin typeface="Calibri" panose="020F0502020204030204" pitchFamily="34" charset="0"/>
              <a:ea typeface="Lato Light" panose="020F0502020204030203" pitchFamily="34" charset="0"/>
              <a:cs typeface="Calibri" panose="020F0502020204030204" pitchFamily="34" charset="0"/>
            </a:endParaRPr>
          </a:p>
        </p:txBody>
      </p:sp>
      <p:sp>
        <p:nvSpPr>
          <p:cNvPr id="40" name="TextBox 39">
            <a:extLst>
              <a:ext uri="{FF2B5EF4-FFF2-40B4-BE49-F238E27FC236}">
                <a16:creationId xmlns:a16="http://schemas.microsoft.com/office/drawing/2014/main" id="{5AE901CC-2486-4640-FA00-CBA42AA16DFA}"/>
              </a:ext>
            </a:extLst>
          </p:cNvPr>
          <p:cNvSpPr txBox="1"/>
          <p:nvPr/>
        </p:nvSpPr>
        <p:spPr>
          <a:xfrm>
            <a:off x="1908080" y="6230113"/>
            <a:ext cx="6100762" cy="369332"/>
          </a:xfrm>
          <a:prstGeom prst="rect">
            <a:avLst/>
          </a:prstGeom>
          <a:noFill/>
        </p:spPr>
        <p:txBody>
          <a:bodyPr wrap="square">
            <a:spAutoFit/>
          </a:bodyPr>
          <a:lstStyle/>
          <a:p>
            <a:pPr marL="12700" indent="-12700"/>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CREDIT - </a:t>
            </a:r>
            <a:r>
              <a:rPr lang="en-IE" sz="1800" dirty="0">
                <a:solidFill>
                  <a:srgbClr val="595959"/>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Στάδια κρίσης: (bcm-institute.org)</a:t>
            </a:r>
            <a:endPar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endParaRPr>
          </a:p>
        </p:txBody>
      </p:sp>
    </p:spTree>
    <p:extLst>
      <p:ext uri="{BB962C8B-B14F-4D97-AF65-F5344CB8AC3E}">
        <p14:creationId xmlns:p14="http://schemas.microsoft.com/office/powerpoint/2010/main" val="13416269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 </a:t>
            </a:r>
            <a:r>
              <a:rPr lang="el-GR" sz="4000" dirty="0">
                <a:solidFill>
                  <a:schemeClr val="bg1"/>
                </a:solidFill>
              </a:rPr>
              <a:t>	</a:t>
            </a:r>
            <a:r>
              <a:rPr lang="en-US" dirty="0" err="1">
                <a:solidFill>
                  <a:schemeClr val="bg1"/>
                </a:solidFill>
              </a:rPr>
              <a:t>Φάση</a:t>
            </a:r>
            <a:r>
              <a:rPr lang="en-US" dirty="0">
                <a:solidFill>
                  <a:schemeClr val="bg1"/>
                </a:solidFill>
              </a:rPr>
              <a:t> πριν από την κρίση</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31525" y="2270929"/>
            <a:ext cx="10090074" cy="3729568"/>
          </a:xfrm>
        </p:spPr>
        <p:txBody>
          <a:bodyPr numCol="2" spcCol="216000">
            <a:noAutofit/>
          </a:bodyPr>
          <a:lstStyle/>
          <a:p>
            <a:pPr marL="12700" indent="-12700" algn="just">
              <a:lnSpc>
                <a:spcPts val="2240"/>
              </a:lnSpc>
              <a:spcBef>
                <a:spcPts val="0"/>
              </a:spcBef>
            </a:pPr>
            <a:r>
              <a:rPr lang="en-GB" sz="1600" b="0" i="0" dirty="0">
                <a:effectLst/>
                <a:latin typeface="Calibri" panose="020F0502020204030204" pitchFamily="34" charset="0"/>
                <a:cs typeface="Calibri" panose="020F0502020204030204" pitchFamily="34" charset="0"/>
              </a:rPr>
              <a:t>Σκεφτείτε το στάδιο πριν από την κρίση ως "πρόληψη".  Περιλαμβάνει την προσπάθεια μείωσης των γνωστών κινδύνων που θα μπορούσαν να οδηγήσουν σε κρίση. Αυτό πρέπει να αποτελεί μέρος του προγράμματος διαχείρισης κινδύνων μιας ΜΜΕ. Η προετοιμασία περιλαμβάνει: -</a:t>
            </a:r>
          </a:p>
          <a:p>
            <a:pPr marL="342900" indent="-342900" algn="just">
              <a:lnSpc>
                <a:spcPts val="2240"/>
              </a:lnSpc>
              <a:spcBef>
                <a:spcPts val="0"/>
              </a:spcBef>
              <a:buClr>
                <a:srgbClr val="F16924"/>
              </a:buClr>
              <a:buFont typeface="Arial" panose="020B0604020202020204" pitchFamily="34" charset="0"/>
              <a:buChar char="•"/>
            </a:pPr>
            <a:r>
              <a:rPr lang="en-GB" sz="1600" b="0" i="0" dirty="0">
                <a:effectLst/>
                <a:latin typeface="Calibri" panose="020F0502020204030204" pitchFamily="34" charset="0"/>
                <a:cs typeface="Calibri" panose="020F0502020204030204" pitchFamily="34" charset="0"/>
              </a:rPr>
              <a:t>δημιουργία του σχεδίου διαχείρισης κρίσεων,</a:t>
            </a:r>
          </a:p>
          <a:p>
            <a:pPr marL="342900" indent="-342900" algn="just">
              <a:lnSpc>
                <a:spcPts val="2240"/>
              </a:lnSpc>
              <a:spcBef>
                <a:spcPts val="0"/>
              </a:spcBef>
              <a:buClr>
                <a:srgbClr val="F16924"/>
              </a:buClr>
              <a:buFont typeface="Arial" panose="020B0604020202020204" pitchFamily="34" charset="0"/>
              <a:buChar char="•"/>
            </a:pPr>
            <a:r>
              <a:rPr lang="en-GB" sz="1600" b="0" i="0" dirty="0">
                <a:effectLst/>
                <a:latin typeface="Calibri" panose="020F0502020204030204" pitchFamily="34" charset="0"/>
                <a:cs typeface="Calibri" panose="020F0502020204030204" pitchFamily="34" charset="0"/>
              </a:rPr>
              <a:t>επιλογή και εκπαίδευση της ομάδας διαχείρισης κρίσεων, και </a:t>
            </a:r>
          </a:p>
          <a:p>
            <a:pPr marL="342900" indent="-342900" algn="just">
              <a:lnSpc>
                <a:spcPts val="2240"/>
              </a:lnSpc>
              <a:spcBef>
                <a:spcPts val="0"/>
              </a:spcBef>
              <a:buClr>
                <a:srgbClr val="F16924"/>
              </a:buClr>
              <a:buFont typeface="Arial" panose="020B0604020202020204" pitchFamily="34" charset="0"/>
              <a:buChar char="•"/>
            </a:pPr>
            <a:r>
              <a:rPr lang="en-GB" sz="1600" b="0" i="0" dirty="0">
                <a:effectLst/>
                <a:latin typeface="Calibri" panose="020F0502020204030204" pitchFamily="34" charset="0"/>
                <a:cs typeface="Calibri" panose="020F0502020204030204" pitchFamily="34" charset="0"/>
              </a:rPr>
              <a:t>διεξαγωγή ασκήσεων για τη δοκιμή του σχεδίου διαχείρισης κρίσεων και της ομάδας διαχείρισης κρίσεων.  </a:t>
            </a:r>
            <a:endParaRPr lang="en-GB" sz="1600" dirty="0">
              <a:latin typeface="Calibri" panose="020F0502020204030204" pitchFamily="34" charset="0"/>
              <a:cs typeface="Calibri" panose="020F0502020204030204" pitchFamily="34" charset="0"/>
            </a:endParaRPr>
          </a:p>
          <a:p>
            <a:pPr marL="12700" indent="-12700" algn="just">
              <a:lnSpc>
                <a:spcPts val="2240"/>
              </a:lnSpc>
              <a:spcBef>
                <a:spcPts val="0"/>
              </a:spcBef>
            </a:pPr>
            <a:endParaRPr lang="en-GB" sz="1600" dirty="0">
              <a:latin typeface="Calibri" panose="020F0502020204030204" pitchFamily="34" charset="0"/>
              <a:cs typeface="Calibri" panose="020F0502020204030204" pitchFamily="34" charset="0"/>
            </a:endParaRPr>
          </a:p>
          <a:p>
            <a:pPr marL="12700" indent="-12700" algn="just">
              <a:lnSpc>
                <a:spcPts val="2240"/>
              </a:lnSpc>
              <a:spcBef>
                <a:spcPts val="0"/>
              </a:spcBef>
            </a:pPr>
            <a:r>
              <a:rPr lang="en-GB" sz="1600" b="0" i="0" dirty="0">
                <a:effectLst/>
                <a:latin typeface="Calibri" panose="020F0502020204030204" pitchFamily="34" charset="0"/>
                <a:cs typeface="Calibri" panose="020F0502020204030204" pitchFamily="34" charset="0"/>
              </a:rPr>
              <a:t>Κατά τη διάρκεια αυτού του σταδίου, </a:t>
            </a:r>
            <a:r>
              <a:rPr lang="en-GB" sz="1600" dirty="0">
                <a:latin typeface="Calibri" panose="020F0502020204030204" pitchFamily="34" charset="0"/>
                <a:cs typeface="Calibri" panose="020F0502020204030204" pitchFamily="34" charset="0"/>
              </a:rPr>
              <a:t>η </a:t>
            </a:r>
            <a:r>
              <a:rPr lang="en-GB" sz="1600" b="0" i="0" dirty="0">
                <a:effectLst/>
                <a:latin typeface="Calibri" panose="020F0502020204030204" pitchFamily="34" charset="0"/>
                <a:cs typeface="Calibri" panose="020F0502020204030204" pitchFamily="34" charset="0"/>
              </a:rPr>
              <a:t>ομάδα διαχείρισης κρίσεων θα πρέπει να καταρτίσει έναν πλήρη κατάλογο όλων των πιθανών κρίσεων που θα μπορούσαν να επηρεάσουν τη ΜΜΕ. Αυτό περιλαμβάνει τη συνεκτίμηση των προκλήσεων του παρελθόντος και τη διασφάλιση ότι υπάρχουν οι κατάλληλοι πόροι για την αποφυγή επαναλαμβανόμενων καταστάσεων. Η επανεξέταση αυτού του καταλόγου μπορεί να βοηθήσει στον εντοπισμό καταστάσεων που μπορούν να αποφευχθούν με την τροποποίηση των υφιστάμενων διαδικασιών και διεργασιών.</a:t>
            </a:r>
          </a:p>
          <a:p>
            <a:pPr marL="12700" indent="-12700" algn="just">
              <a:lnSpc>
                <a:spcPts val="2240"/>
              </a:lnSpc>
              <a:spcBef>
                <a:spcPts val="0"/>
              </a:spcBef>
            </a:pPr>
            <a:endParaRPr lang="en-GB" sz="1600" b="0" i="0" dirty="0">
              <a:effectLst/>
              <a:latin typeface="Calibri" panose="020F0502020204030204" pitchFamily="34" charset="0"/>
              <a:cs typeface="Calibri" panose="020F0502020204030204" pitchFamily="34" charset="0"/>
            </a:endParaRPr>
          </a:p>
          <a:p>
            <a:pPr marL="12700" indent="-12700" algn="just">
              <a:lnSpc>
                <a:spcPts val="2240"/>
              </a:lnSpc>
              <a:spcBef>
                <a:spcPts val="0"/>
              </a:spcBef>
            </a:pPr>
            <a:r>
              <a:rPr lang="en-GB" sz="1600" b="0" i="0" dirty="0">
                <a:effectLst/>
                <a:latin typeface="Calibri" panose="020F0502020204030204" pitchFamily="34" charset="0"/>
                <a:cs typeface="Calibri" panose="020F0502020204030204" pitchFamily="34" charset="0"/>
              </a:rPr>
              <a:t>Ένας οργανισμός με ένα προηγμένο σχέδιο διαχείρισης κρίσεων γνωρίζει ακριβώς τι πρέπει να κάνει όταν η καταστροφή </a:t>
            </a:r>
            <a:r>
              <a:rPr lang="en-GB" sz="1600" dirty="0">
                <a:latin typeface="Calibri" panose="020F0502020204030204" pitchFamily="34" charset="0"/>
                <a:cs typeface="Calibri" panose="020F0502020204030204" pitchFamily="34" charset="0"/>
              </a:rPr>
              <a:t>χτυπήσει.</a:t>
            </a:r>
            <a:r>
              <a:rPr lang="en-GB" sz="1600" b="0" i="0" dirty="0">
                <a:effectLst/>
                <a:latin typeface="Calibri" panose="020F0502020204030204" pitchFamily="34" charset="0"/>
                <a:cs typeface="Calibri" panose="020F0502020204030204" pitchFamily="34" charset="0"/>
              </a:rPr>
              <a:t> Αυτό περιλαμβάνει τη δημιουργία ενός καταλόγου πιθανών αντιδράσεων και σεναρίων καλύτερης και χειρότερης περίπτωσης.</a:t>
            </a:r>
          </a:p>
        </p:txBody>
      </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4E775511-0F7D-86DF-F599-0529AC62FD62}"/>
              </a:ext>
            </a:extLst>
          </p:cNvPr>
          <p:cNvSpPr txBox="1">
            <a:spLocks/>
          </p:cNvSpPr>
          <p:nvPr/>
        </p:nvSpPr>
        <p:spPr>
          <a:xfrm>
            <a:off x="1831526" y="1755650"/>
            <a:ext cx="9515167" cy="1043060"/>
          </a:xfrm>
          <a:prstGeom prst="rect">
            <a:avLst/>
          </a:prstGeom>
        </p:spPr>
        <p:txBody>
          <a:bodyPr vert="horz" lIns="91440" tIns="45720" rIns="91440" bIns="45720" numCol="2" spcCol="14400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200" b="1" dirty="0">
                <a:solidFill>
                  <a:srgbClr val="B41F7A"/>
                </a:solidFill>
                <a:latin typeface="Calibri" panose="020F0502020204030204" pitchFamily="34" charset="0"/>
                <a:cs typeface="Calibri" panose="020F0502020204030204" pitchFamily="34" charset="0"/>
              </a:rPr>
              <a:t>Πρόληψη</a:t>
            </a:r>
          </a:p>
        </p:txBody>
      </p:sp>
    </p:spTree>
    <p:extLst>
      <p:ext uri="{BB962C8B-B14F-4D97-AF65-F5344CB8AC3E}">
        <p14:creationId xmlns:p14="http://schemas.microsoft.com/office/powerpoint/2010/main" val="1765516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 </a:t>
            </a:r>
            <a:r>
              <a:rPr lang="el-GR" sz="4000" dirty="0">
                <a:solidFill>
                  <a:schemeClr val="bg1"/>
                </a:solidFill>
              </a:rPr>
              <a:t>	</a:t>
            </a:r>
            <a:r>
              <a:rPr lang="en-US" dirty="0" err="1">
                <a:solidFill>
                  <a:schemeClr val="bg1"/>
                </a:solidFill>
              </a:rPr>
              <a:t>Φάση</a:t>
            </a:r>
            <a:r>
              <a:rPr lang="en-US" dirty="0">
                <a:solidFill>
                  <a:schemeClr val="bg1"/>
                </a:solidFill>
              </a:rPr>
              <a:t> πριν από την κρίση</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31525" y="2375564"/>
            <a:ext cx="9515167" cy="3891897"/>
          </a:xfrm>
        </p:spPr>
        <p:txBody>
          <a:bodyPr numCol="2" spcCol="216000">
            <a:noAutofit/>
          </a:bodyPr>
          <a:lstStyle/>
          <a:p>
            <a:pPr marL="12700" indent="-12700" algn="just">
              <a:lnSpc>
                <a:spcPts val="2240"/>
              </a:lnSpc>
              <a:spcBef>
                <a:spcPts val="0"/>
              </a:spcBef>
            </a:pPr>
            <a:r>
              <a:rPr lang="en-GB" sz="1800" b="0" i="0" dirty="0">
                <a:effectLst/>
                <a:latin typeface="Calibri" panose="020F0502020204030204" pitchFamily="34" charset="0"/>
                <a:cs typeface="Calibri" panose="020F0502020204030204" pitchFamily="34" charset="0"/>
              </a:rPr>
              <a:t>Ολόκληρη η ομάδα διαχείρισης κρίσεων θα πρέπει να συμπεριληφθεί κατά την ανάπτυξη του σχεδίου και να γνωρίζει όλες τις τελικές διαδικασίες και διεργασίες</a:t>
            </a:r>
            <a:r>
              <a:rPr lang="en-GB" sz="1800" b="0" i="0" dirty="0">
                <a:effectLst/>
                <a:latin typeface="Calibri" panose="020F0502020204030204" pitchFamily="34" charset="0"/>
                <a:ea typeface="Lato Light" panose="020F0502020204030203" pitchFamily="34" charset="0"/>
                <a:cs typeface="Calibri" panose="020F0502020204030204" pitchFamily="34" charset="0"/>
              </a:rPr>
              <a:t>. </a:t>
            </a:r>
          </a:p>
          <a:p>
            <a:pPr marL="12700" indent="-12700" algn="just">
              <a:lnSpc>
                <a:spcPts val="2240"/>
              </a:lnSpc>
              <a:spcBef>
                <a:spcPts val="0"/>
              </a:spcBef>
            </a:pPr>
            <a:endParaRPr lang="en-GB" sz="1800" dirty="0">
              <a:latin typeface="Calibri" panose="020F0502020204030204" pitchFamily="34" charset="0"/>
              <a:ea typeface="Lato Light" panose="020F0502020204030203" pitchFamily="34" charset="0"/>
              <a:cs typeface="Calibri" panose="020F0502020204030204" pitchFamily="34" charset="0"/>
            </a:endParaRPr>
          </a:p>
          <a:p>
            <a:pPr marL="12700" indent="-12700" algn="just">
              <a:lnSpc>
                <a:spcPts val="2240"/>
              </a:lnSpc>
              <a:spcBef>
                <a:spcPts val="0"/>
              </a:spcBef>
            </a:pPr>
            <a:r>
              <a:rPr lang="en-GB" sz="1800" dirty="0">
                <a:latin typeface="Calibri" panose="020F0502020204030204" pitchFamily="34" charset="0"/>
                <a:ea typeface="Lato Light" panose="020F0502020204030203" pitchFamily="34" charset="0"/>
                <a:cs typeface="Calibri" panose="020F0502020204030204" pitchFamily="34" charset="0"/>
              </a:rPr>
              <a:t>Η πρόληψη περιλαμβάνει την προσπάθεια μείωσης των γνωστών κινδύνων που θα μπορούσαν να οδηγήσουν σε κρίση.  Αποτελεί μέρος του προγράμματος διαχείρισης κινδύνων ενός οργανισμού. Η προετοιμασία περιλαμβάνει τη δημιουργία του σχεδίου διαχείρισης κρίσεων, την επιλογή και την εκπαίδευση της ομάδας διαχείρισης κρίσεων και τη διεξαγωγή ασκήσεων για τη δοκιμή του σχεδίου διαχείρισης κρίσεων και της ομάδας διαχείρισης κρίσεων. </a:t>
            </a:r>
          </a:p>
          <a:p>
            <a:pPr marL="12700" indent="-12700" algn="just">
              <a:lnSpc>
                <a:spcPts val="2240"/>
              </a:lnSpc>
              <a:spcBef>
                <a:spcPts val="0"/>
              </a:spcBef>
            </a:pPr>
            <a:endParaRPr lang="en-GB" sz="1800" dirty="0">
              <a:latin typeface="Calibri" panose="020F0502020204030204" pitchFamily="34" charset="0"/>
              <a:ea typeface="Lato Light" panose="020F0502020204030203" pitchFamily="34" charset="0"/>
              <a:cs typeface="Calibri" panose="020F0502020204030204" pitchFamily="34" charset="0"/>
            </a:endParaRPr>
          </a:p>
          <a:p>
            <a:pPr marL="12700" indent="-12700" algn="just">
              <a:lnSpc>
                <a:spcPts val="2240"/>
              </a:lnSpc>
              <a:spcBef>
                <a:spcPts val="0"/>
              </a:spcBef>
            </a:pPr>
            <a:r>
              <a:rPr lang="en-GB" sz="1800" b="0" i="0" dirty="0">
                <a:effectLst/>
                <a:latin typeface="Calibri" panose="020F0502020204030204" pitchFamily="34" charset="0"/>
                <a:cs typeface="Calibri" panose="020F0502020204030204" pitchFamily="34" charset="0"/>
              </a:rPr>
              <a:t>Από την άποψη της επικοινωνίας κρίσεων, ο ορισμός ενός εκπροσώπου της εταιρείας, ένας κατάλογος των διαθέσιμων πόρων και ένα σχέδιο βήμα προς βήμα για την καταπολέμηση των κρίσεων βοηθούν στη διαχείριση της κατάστασης με επαγγελματικό, ενιαίο τρόπο, αποφεύγοντας την εμφάνιση πρόσθετου χάους.</a:t>
            </a:r>
          </a:p>
          <a:p>
            <a:pPr marL="12700" indent="-12700" algn="just">
              <a:lnSpc>
                <a:spcPts val="2240"/>
              </a:lnSpc>
              <a:spcBef>
                <a:spcPts val="0"/>
              </a:spcBef>
            </a:pPr>
            <a:endParaRPr lang="en-GB" sz="2200" b="0" i="0" dirty="0">
              <a:effectLst/>
              <a:latin typeface="Calibri" panose="020F0502020204030204" pitchFamily="34" charset="0"/>
              <a:cs typeface="Calibri" panose="020F0502020204030204" pitchFamily="34" charset="0"/>
            </a:endParaRPr>
          </a:p>
        </p:txBody>
      </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4E775511-0F7D-86DF-F599-0529AC62FD62}"/>
              </a:ext>
            </a:extLst>
          </p:cNvPr>
          <p:cNvSpPr txBox="1">
            <a:spLocks/>
          </p:cNvSpPr>
          <p:nvPr/>
        </p:nvSpPr>
        <p:spPr>
          <a:xfrm>
            <a:off x="1831526" y="1755650"/>
            <a:ext cx="9515167" cy="1043060"/>
          </a:xfrm>
          <a:prstGeom prst="rect">
            <a:avLst/>
          </a:prstGeom>
        </p:spPr>
        <p:txBody>
          <a:bodyPr vert="horz" lIns="91440" tIns="45720" rIns="91440" bIns="45720" numCol="2" spcCol="14400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200" b="1" dirty="0">
                <a:solidFill>
                  <a:srgbClr val="B41F7A"/>
                </a:solidFill>
                <a:latin typeface="Calibri" panose="020F0502020204030204" pitchFamily="34" charset="0"/>
                <a:cs typeface="Calibri" panose="020F0502020204030204" pitchFamily="34" charset="0"/>
              </a:rPr>
              <a:t>Πρόληψη</a:t>
            </a:r>
          </a:p>
        </p:txBody>
      </p:sp>
      <p:sp>
        <p:nvSpPr>
          <p:cNvPr id="3" name="TextBox 2">
            <a:extLst>
              <a:ext uri="{FF2B5EF4-FFF2-40B4-BE49-F238E27FC236}">
                <a16:creationId xmlns:a16="http://schemas.microsoft.com/office/drawing/2014/main" id="{CF749DBD-6F78-21D1-103B-04D91A0F15AA}"/>
              </a:ext>
            </a:extLst>
          </p:cNvPr>
          <p:cNvSpPr txBox="1"/>
          <p:nvPr/>
        </p:nvSpPr>
        <p:spPr>
          <a:xfrm>
            <a:off x="6589108" y="6082795"/>
            <a:ext cx="6100762" cy="369332"/>
          </a:xfrm>
          <a:prstGeom prst="rect">
            <a:avLst/>
          </a:prstGeom>
          <a:noFill/>
        </p:spPr>
        <p:txBody>
          <a:bodyPr wrap="square">
            <a:spAutoFit/>
          </a:bodyPr>
          <a:lstStyle/>
          <a:p>
            <a:pPr marL="12700" indent="-12700"/>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CREDIT - </a:t>
            </a:r>
            <a:r>
              <a:rPr lang="en-IE" sz="1800" dirty="0">
                <a:solidFill>
                  <a:srgbClr val="595959"/>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Στάδια κρίσης: (bcm-institute.org)</a:t>
            </a:r>
            <a:endPar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endParaRPr>
          </a:p>
        </p:txBody>
      </p:sp>
    </p:spTree>
    <p:extLst>
      <p:ext uri="{BB962C8B-B14F-4D97-AF65-F5344CB8AC3E}">
        <p14:creationId xmlns:p14="http://schemas.microsoft.com/office/powerpoint/2010/main" val="8229786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 </a:t>
            </a:r>
            <a:r>
              <a:rPr lang="el-GR" sz="4000" dirty="0">
                <a:solidFill>
                  <a:schemeClr val="bg1"/>
                </a:solidFill>
              </a:rPr>
              <a:t>	</a:t>
            </a:r>
            <a:r>
              <a:rPr lang="en-US" dirty="0" err="1">
                <a:solidFill>
                  <a:schemeClr val="bg1"/>
                </a:solidFill>
              </a:rPr>
              <a:t>Φάση</a:t>
            </a:r>
            <a:r>
              <a:rPr lang="en-US" dirty="0">
                <a:solidFill>
                  <a:schemeClr val="bg1"/>
                </a:solidFill>
              </a:rPr>
              <a:t> πριν από την κρίση</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911175" y="1915895"/>
            <a:ext cx="9515167" cy="4650317"/>
          </a:xfrm>
        </p:spPr>
        <p:txBody>
          <a:bodyPr>
            <a:normAutofit/>
          </a:bodyPr>
          <a:lstStyle/>
          <a:p>
            <a:pPr marL="12700" indent="-12700"/>
            <a:r>
              <a:rPr lang="en-GB" sz="2200" dirty="0">
                <a:latin typeface="Calibri" panose="020F0502020204030204" pitchFamily="34" charset="0"/>
                <a:ea typeface="Lato Light" panose="020F0502020204030203" pitchFamily="34" charset="0"/>
                <a:cs typeface="Calibri" panose="020F0502020204030204" pitchFamily="34" charset="0"/>
              </a:rPr>
              <a:t>Για να ανακεφαλαιώσουμε, οι ΜΜΕ μπορούν να αντιμετωπίσουν καλύτερα τις κρίσεις όταν:</a:t>
            </a:r>
          </a:p>
          <a:p>
            <a:pPr marL="457200" indent="-457200">
              <a:buClr>
                <a:srgbClr val="F16924"/>
              </a:buClr>
              <a:buFont typeface="+mj-lt"/>
              <a:buAutoNum type="arabicPeriod"/>
            </a:pPr>
            <a:endParaRPr lang="en-GB" sz="2200" dirty="0">
              <a:latin typeface="Calibri" panose="020F0502020204030204" pitchFamily="34" charset="0"/>
              <a:ea typeface="Lato Light" panose="020F0502020204030203" pitchFamily="34" charset="0"/>
              <a:cs typeface="Calibri" panose="020F0502020204030204" pitchFamily="34" charset="0"/>
            </a:endParaRPr>
          </a:p>
          <a:p>
            <a:pPr marL="457200" lvl="0" indent="-457200">
              <a:buClr>
                <a:srgbClr val="F16924"/>
              </a:buClr>
              <a:buFont typeface="+mj-lt"/>
              <a:buAutoNum type="arabicPeriod"/>
            </a:pPr>
            <a:r>
              <a:rPr lang="en-US" sz="2200" dirty="0"/>
              <a:t>Διαθέτουν σχέδιο διαχείρισης κρίσεων που επικαιροποιείται τουλάχιστον ετησίως. </a:t>
            </a:r>
          </a:p>
          <a:p>
            <a:pPr marL="457200" lvl="0" indent="-457200">
              <a:buClr>
                <a:srgbClr val="F16924"/>
              </a:buClr>
              <a:buFont typeface="+mj-lt"/>
              <a:buAutoNum type="arabicPeriod"/>
            </a:pPr>
            <a:r>
              <a:rPr lang="en-US" sz="2200" dirty="0"/>
              <a:t>Διαθέτουν καθορισμένη ομάδα διαχείρισης κρίσεων</a:t>
            </a:r>
          </a:p>
          <a:p>
            <a:pPr marL="457200" lvl="0" indent="-457200">
              <a:buClr>
                <a:srgbClr val="F16924"/>
              </a:buClr>
              <a:buFont typeface="+mj-lt"/>
              <a:buAutoNum type="arabicPeriod"/>
            </a:pPr>
            <a:r>
              <a:rPr lang="en-US" sz="2200" dirty="0"/>
              <a:t>Διεξαγωγή ασκήσεων για τη δοκιμή των σχεδίων και των ομάδων τουλάχιστον ετησίως</a:t>
            </a:r>
          </a:p>
          <a:p>
            <a:pPr marL="457200" lvl="0" indent="-457200">
              <a:buClr>
                <a:srgbClr val="F16924"/>
              </a:buClr>
              <a:buFont typeface="+mj-lt"/>
              <a:buAutoNum type="arabicPeriod"/>
            </a:pPr>
            <a:r>
              <a:rPr lang="en-US" sz="2200" dirty="0"/>
              <a:t>Προ-σχέδιο κάποιων μηνυμάτων κρίσης</a:t>
            </a:r>
          </a:p>
          <a:p>
            <a:pPr marL="12700" indent="-12700"/>
            <a:r>
              <a:rPr lang="en-GB" sz="2200" dirty="0">
                <a:latin typeface="Calibri" panose="020F0502020204030204" pitchFamily="34" charset="0"/>
                <a:ea typeface="Lato Light" panose="020F0502020204030203" pitchFamily="34" charset="0"/>
                <a:cs typeface="Calibri" panose="020F0502020204030204" pitchFamily="34" charset="0"/>
              </a:rPr>
              <a:t> </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8818454">
            <a:off x="8776650" y="5735059"/>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2" name="Group 1">
            <a:extLst>
              <a:ext uri="{FF2B5EF4-FFF2-40B4-BE49-F238E27FC236}">
                <a16:creationId xmlns:a16="http://schemas.microsoft.com/office/drawing/2014/main" id="{97CEE594-CD15-457B-4652-4CE42FBABA84}"/>
              </a:ext>
            </a:extLst>
          </p:cNvPr>
          <p:cNvGrpSpPr/>
          <p:nvPr/>
        </p:nvGrpSpPr>
        <p:grpSpPr>
          <a:xfrm>
            <a:off x="465494" y="1852059"/>
            <a:ext cx="944305" cy="946650"/>
            <a:chOff x="3728648" y="2288053"/>
            <a:chExt cx="1103278" cy="1106017"/>
          </a:xfrm>
        </p:grpSpPr>
        <p:sp>
          <p:nvSpPr>
            <p:cNvPr id="47" name="Freeform 46">
              <a:extLst>
                <a:ext uri="{FF2B5EF4-FFF2-40B4-BE49-F238E27FC236}">
                  <a16:creationId xmlns:a16="http://schemas.microsoft.com/office/drawing/2014/main" id="{06486A43-BF45-F069-FB6D-F99FCBFE0160}"/>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246B1444-D251-B957-A016-E04EFA2FD168}"/>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ABB04471-3323-FA0D-EA34-ABC2A6B1FB16}"/>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667643C4-61CD-FB99-25DA-9D9396A7E28A}"/>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98EC4B0-E916-6821-BADF-EB4B5FFAA2D5}"/>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A4C88553-4773-9F33-AF0C-22CE8DC0B58D}"/>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099EA05E-82E8-70A1-2B2F-BC1F1424E06A}"/>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4481C2B6-9FB6-0E53-ADE6-897135E909EA}"/>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B326C7DD-7D58-884C-6B00-31D5B0B2EF01}"/>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2CB7F99C-9E6C-A02D-F6FF-E28AAE43C9C9}"/>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E840CC0B-F2FC-5583-BDBE-1C9F4B35D707}"/>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83A5B9BC-D19E-AFC6-AB42-82432A35E7E7}"/>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Tree>
    <p:extLst>
      <p:ext uri="{BB962C8B-B14F-4D97-AF65-F5344CB8AC3E}">
        <p14:creationId xmlns:p14="http://schemas.microsoft.com/office/powerpoint/2010/main" val="8545122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2 </a:t>
            </a:r>
            <a:r>
              <a:rPr lang="el-GR" sz="4000" dirty="0">
                <a:solidFill>
                  <a:schemeClr val="bg1"/>
                </a:solidFill>
              </a:rPr>
              <a:t>	</a:t>
            </a:r>
            <a:r>
              <a:rPr lang="en-US" dirty="0" err="1">
                <a:solidFill>
                  <a:schemeClr val="bg1"/>
                </a:solidFill>
              </a:rPr>
              <a:t>Αντιμετώ</a:t>
            </a:r>
            <a:r>
              <a:rPr lang="en-US" dirty="0">
                <a:solidFill>
                  <a:schemeClr val="bg1"/>
                </a:solidFill>
              </a:rPr>
              <a:t>πιση κρίσεων</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911175" y="1915895"/>
            <a:ext cx="9515167" cy="4650317"/>
          </a:xfrm>
        </p:spPr>
        <p:txBody>
          <a:bodyPr>
            <a:normAutofit/>
          </a:bodyPr>
          <a:lstStyle/>
          <a:p>
            <a:pPr marL="12700" indent="-12700" algn="just"/>
            <a:r>
              <a:rPr lang="en-GB" sz="1800" dirty="0">
                <a:latin typeface="Calibri" panose="020F0502020204030204" pitchFamily="34" charset="0"/>
                <a:ea typeface="Lato Light" panose="020F0502020204030203" pitchFamily="34" charset="0"/>
                <a:cs typeface="Calibri" panose="020F0502020204030204" pitchFamily="34" charset="0"/>
              </a:rPr>
              <a:t>Η αντίδραση στην κρίση είναι </a:t>
            </a:r>
            <a:r>
              <a:rPr lang="en-GB" sz="1800" b="1" u="sng" dirty="0">
                <a:latin typeface="Calibri" panose="020F0502020204030204" pitchFamily="34" charset="0"/>
                <a:ea typeface="Lato Light" panose="020F0502020204030203" pitchFamily="34" charset="0"/>
                <a:cs typeface="Calibri" panose="020F0502020204030204" pitchFamily="34" charset="0"/>
              </a:rPr>
              <a:t>αυτό που κάνει και λέει η διοίκηση </a:t>
            </a:r>
            <a:r>
              <a:rPr lang="en-GB" sz="1800" dirty="0">
                <a:latin typeface="Calibri" panose="020F0502020204030204" pitchFamily="34" charset="0"/>
                <a:ea typeface="Lato Light" panose="020F0502020204030203" pitchFamily="34" charset="0"/>
                <a:cs typeface="Calibri" panose="020F0502020204030204" pitchFamily="34" charset="0"/>
              </a:rPr>
              <a:t>κατά τη διάρκεια και μετά το ξέσπασμα της κρίσης.  Οι δημόσιες σχέσεις διαδραματίζουν κρίσιμο ρόλο στην αντιμετώπιση της κρίσης βοηθώντας στην ανάπτυξη των μηνυμάτων που αποστέλλονται σε διάφορα κοινά.  Πολλές έρευνες έχουν εξετάσει την αντιμετώπιση της κρίσης.  </a:t>
            </a:r>
          </a:p>
          <a:p>
            <a:pPr marL="12700" indent="-12700"/>
            <a:endParaRPr lang="en-GB" sz="1800" dirty="0">
              <a:latin typeface="Calibri" panose="020F0502020204030204" pitchFamily="34" charset="0"/>
              <a:ea typeface="Lato Light" panose="020F0502020204030203" pitchFamily="34" charset="0"/>
              <a:cs typeface="Calibri" panose="020F0502020204030204" pitchFamily="34" charset="0"/>
            </a:endParaRPr>
          </a:p>
          <a:p>
            <a:pPr marL="12700" indent="-12700"/>
            <a:r>
              <a:rPr lang="en-GB" sz="1800" b="1" dirty="0">
                <a:latin typeface="Calibri" panose="020F0502020204030204" pitchFamily="34" charset="0"/>
                <a:ea typeface="Lato Light" panose="020F0502020204030203" pitchFamily="34" charset="0"/>
                <a:cs typeface="Calibri" panose="020F0502020204030204" pitchFamily="34" charset="0"/>
              </a:rPr>
              <a:t>Η έρευνα αυτή χωρίζεται σε δύο τμήματα:  </a:t>
            </a:r>
          </a:p>
          <a:p>
            <a:pPr marL="457200" indent="-457200">
              <a:buClr>
                <a:srgbClr val="F16924"/>
              </a:buClr>
              <a:buFont typeface="+mj-lt"/>
              <a:buAutoNum type="arabicPeriod"/>
            </a:pPr>
            <a:r>
              <a:rPr lang="en-GB" sz="1800" dirty="0">
                <a:latin typeface="Calibri" panose="020F0502020204030204" pitchFamily="34" charset="0"/>
                <a:ea typeface="Lato Light" panose="020F0502020204030203" pitchFamily="34" charset="0"/>
                <a:cs typeface="Calibri" panose="020F0502020204030204" pitchFamily="34" charset="0"/>
              </a:rPr>
              <a:t>την αρχική αντιμετώπιση της κρίσης και</a:t>
            </a:r>
          </a:p>
          <a:p>
            <a:pPr marL="457200" indent="-457200">
              <a:buClr>
                <a:srgbClr val="F16924"/>
              </a:buClr>
              <a:buFont typeface="+mj-lt"/>
              <a:buAutoNum type="arabicPeriod"/>
            </a:pPr>
            <a:r>
              <a:rPr lang="en-GB" sz="1800" dirty="0">
                <a:latin typeface="Calibri" panose="020F0502020204030204" pitchFamily="34" charset="0"/>
                <a:ea typeface="Lato Light" panose="020F0502020204030203" pitchFamily="34" charset="0"/>
                <a:cs typeface="Calibri" panose="020F0502020204030204" pitchFamily="34" charset="0"/>
              </a:rPr>
              <a:t>αποκατάσταση της φήμης και προθέσεις συμπεριφοράς.</a:t>
            </a:r>
          </a:p>
          <a:p>
            <a:pPr marL="457200" indent="-457200">
              <a:buClr>
                <a:srgbClr val="F16924"/>
              </a:buClr>
              <a:buFont typeface="+mj-lt"/>
              <a:buAutoNum type="arabicPeriod"/>
            </a:pPr>
            <a:endParaRPr lang="en-GB" sz="1800" dirty="0">
              <a:latin typeface="Calibri" panose="020F0502020204030204" pitchFamily="34" charset="0"/>
              <a:ea typeface="Lato Light" panose="020F0502020204030203" pitchFamily="34" charset="0"/>
              <a:cs typeface="Calibri" panose="020F0502020204030204" pitchFamily="34" charset="0"/>
            </a:endParaRPr>
          </a:p>
          <a:p>
            <a:pPr marL="0" indent="0">
              <a:buClr>
                <a:srgbClr val="F16924"/>
              </a:buClr>
            </a:pPr>
            <a:r>
              <a:rPr lang="en-GB" sz="1800" dirty="0">
                <a:latin typeface="Calibri" panose="020F0502020204030204" pitchFamily="34" charset="0"/>
                <a:ea typeface="Lato Light" panose="020F0502020204030203" pitchFamily="34" charset="0"/>
                <a:cs typeface="Calibri" panose="020F0502020204030204" pitchFamily="34" charset="0"/>
              </a:rPr>
              <a:t>Αργότερα σε αυτό το μάθημα, η ΜΟΝΑΔΑ 4 θα σας εξοπλίσει καλά όσον αφορά την επικοινωνία και τις δημόσιες σχέσεις.</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898597" y="5192757"/>
            <a:ext cx="3527744" cy="1473877"/>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925567">
            <a:off x="9410588" y="5880767"/>
            <a:ext cx="511647" cy="910914"/>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62" name="Group 61">
            <a:extLst>
              <a:ext uri="{FF2B5EF4-FFF2-40B4-BE49-F238E27FC236}">
                <a16:creationId xmlns:a16="http://schemas.microsoft.com/office/drawing/2014/main" id="{2E81A677-DA72-17E1-9332-6B74B3A3433F}"/>
              </a:ext>
            </a:extLst>
          </p:cNvPr>
          <p:cNvGrpSpPr/>
          <p:nvPr/>
        </p:nvGrpSpPr>
        <p:grpSpPr>
          <a:xfrm>
            <a:off x="397261" y="1795010"/>
            <a:ext cx="1012538" cy="1014493"/>
            <a:chOff x="7284496" y="2127428"/>
            <a:chExt cx="2245645" cy="2249982"/>
          </a:xfrm>
          <a:solidFill>
            <a:srgbClr val="595959"/>
          </a:solidFill>
        </p:grpSpPr>
        <p:grpSp>
          <p:nvGrpSpPr>
            <p:cNvPr id="63" name="Graphic 3">
              <a:extLst>
                <a:ext uri="{FF2B5EF4-FFF2-40B4-BE49-F238E27FC236}">
                  <a16:creationId xmlns:a16="http://schemas.microsoft.com/office/drawing/2014/main" id="{0E91A77A-5756-225C-8D3E-7C1BD017E10B}"/>
                </a:ext>
              </a:extLst>
            </p:cNvPr>
            <p:cNvGrpSpPr/>
            <p:nvPr/>
          </p:nvGrpSpPr>
          <p:grpSpPr>
            <a:xfrm>
              <a:off x="7284496" y="2127428"/>
              <a:ext cx="2245645" cy="2249982"/>
              <a:chOff x="5098317" y="2100784"/>
              <a:chExt cx="2245645" cy="2249982"/>
            </a:xfrm>
            <a:grpFill/>
          </p:grpSpPr>
          <p:sp>
            <p:nvSpPr>
              <p:cNvPr id="68" name="Freeform 67">
                <a:extLst>
                  <a:ext uri="{FF2B5EF4-FFF2-40B4-BE49-F238E27FC236}">
                    <a16:creationId xmlns:a16="http://schemas.microsoft.com/office/drawing/2014/main" id="{D61CE88D-DAC9-B307-5ED3-DD705C1EA427}"/>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FB707B84-03FD-7793-F153-1F18133F17C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1478DD49-64EC-1835-5409-F5E91E3207B5}"/>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FD12C702-8386-9CB2-5DF6-FF5A04DF05DF}"/>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B901E839-2206-5449-0FA1-20C7836764E9}"/>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6E40EEE5-C94F-72C3-8AB0-EAFBCFC703A6}"/>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4" name="Graphic 3">
              <a:extLst>
                <a:ext uri="{FF2B5EF4-FFF2-40B4-BE49-F238E27FC236}">
                  <a16:creationId xmlns:a16="http://schemas.microsoft.com/office/drawing/2014/main" id="{BC5366BE-F541-F027-7232-78600A98FFA2}"/>
                </a:ext>
              </a:extLst>
            </p:cNvPr>
            <p:cNvGrpSpPr/>
            <p:nvPr/>
          </p:nvGrpSpPr>
          <p:grpSpPr>
            <a:xfrm>
              <a:off x="8878245" y="2200268"/>
              <a:ext cx="144167" cy="725714"/>
              <a:chOff x="6692066" y="2173624"/>
              <a:chExt cx="144167" cy="725714"/>
            </a:xfrm>
            <a:grpFill/>
          </p:grpSpPr>
          <p:sp>
            <p:nvSpPr>
              <p:cNvPr id="65" name="Freeform 64">
                <a:extLst>
                  <a:ext uri="{FF2B5EF4-FFF2-40B4-BE49-F238E27FC236}">
                    <a16:creationId xmlns:a16="http://schemas.microsoft.com/office/drawing/2014/main" id="{EA9F6B40-57C8-BDB7-F0B4-75CDE9C889EE}"/>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862D0DEA-6420-0DF5-C7E4-9EE6821AC04E}"/>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440481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2 </a:t>
            </a:r>
            <a:r>
              <a:rPr lang="el-GR" sz="4000" dirty="0">
                <a:solidFill>
                  <a:schemeClr val="bg1"/>
                </a:solidFill>
              </a:rPr>
              <a:t>	</a:t>
            </a:r>
            <a:r>
              <a:rPr lang="en-US" dirty="0" err="1">
                <a:solidFill>
                  <a:schemeClr val="bg1"/>
                </a:solidFill>
              </a:rPr>
              <a:t>Αντιμετώ</a:t>
            </a:r>
            <a:r>
              <a:rPr lang="en-US" dirty="0">
                <a:solidFill>
                  <a:schemeClr val="bg1"/>
                </a:solidFill>
              </a:rPr>
              <a:t>πιση κρίσεων</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911176" y="1915895"/>
            <a:ext cx="3070520" cy="4650317"/>
          </a:xfrm>
        </p:spPr>
        <p:txBody>
          <a:bodyPr>
            <a:normAutofit/>
          </a:bodyPr>
          <a:lstStyle/>
          <a:p>
            <a:pPr marL="12700" indent="-12700"/>
            <a:r>
              <a:rPr lang="en-GB" sz="2200" b="1" dirty="0">
                <a:latin typeface="Calibri" panose="020F0502020204030204" pitchFamily="34" charset="0"/>
                <a:ea typeface="Lato Light" panose="020F0502020204030203" pitchFamily="34" charset="0"/>
                <a:cs typeface="Calibri" panose="020F0502020204030204" pitchFamily="34" charset="0"/>
              </a:rPr>
              <a:t>Οι αρχικές κατευθυντήριες γραμμές αντιμετώπισης κρίσεων επικεντρώνονται σε τρία σημεία: </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να είστε γρήγοροι,</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 ακριβής, </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και συνεπής.</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925567">
            <a:off x="9081128" y="5704164"/>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62" name="Group 61">
            <a:extLst>
              <a:ext uri="{FF2B5EF4-FFF2-40B4-BE49-F238E27FC236}">
                <a16:creationId xmlns:a16="http://schemas.microsoft.com/office/drawing/2014/main" id="{2E81A677-DA72-17E1-9332-6B74B3A3433F}"/>
              </a:ext>
            </a:extLst>
          </p:cNvPr>
          <p:cNvGrpSpPr/>
          <p:nvPr/>
        </p:nvGrpSpPr>
        <p:grpSpPr>
          <a:xfrm>
            <a:off x="397261" y="1795010"/>
            <a:ext cx="1012538" cy="1014493"/>
            <a:chOff x="7284496" y="2127428"/>
            <a:chExt cx="2245645" cy="2249982"/>
          </a:xfrm>
          <a:solidFill>
            <a:srgbClr val="595959"/>
          </a:solidFill>
        </p:grpSpPr>
        <p:grpSp>
          <p:nvGrpSpPr>
            <p:cNvPr id="63" name="Graphic 3">
              <a:extLst>
                <a:ext uri="{FF2B5EF4-FFF2-40B4-BE49-F238E27FC236}">
                  <a16:creationId xmlns:a16="http://schemas.microsoft.com/office/drawing/2014/main" id="{0E91A77A-5756-225C-8D3E-7C1BD017E10B}"/>
                </a:ext>
              </a:extLst>
            </p:cNvPr>
            <p:cNvGrpSpPr/>
            <p:nvPr/>
          </p:nvGrpSpPr>
          <p:grpSpPr>
            <a:xfrm>
              <a:off x="7284496" y="2127428"/>
              <a:ext cx="2245645" cy="2249982"/>
              <a:chOff x="5098317" y="2100784"/>
              <a:chExt cx="2245645" cy="2249982"/>
            </a:xfrm>
            <a:grpFill/>
          </p:grpSpPr>
          <p:sp>
            <p:nvSpPr>
              <p:cNvPr id="68" name="Freeform 67">
                <a:extLst>
                  <a:ext uri="{FF2B5EF4-FFF2-40B4-BE49-F238E27FC236}">
                    <a16:creationId xmlns:a16="http://schemas.microsoft.com/office/drawing/2014/main" id="{D61CE88D-DAC9-B307-5ED3-DD705C1EA427}"/>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FB707B84-03FD-7793-F153-1F18133F17C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1478DD49-64EC-1835-5409-F5E91E3207B5}"/>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FD12C702-8386-9CB2-5DF6-FF5A04DF05DF}"/>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B901E839-2206-5449-0FA1-20C7836764E9}"/>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6E40EEE5-C94F-72C3-8AB0-EAFBCFC703A6}"/>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4" name="Graphic 3">
              <a:extLst>
                <a:ext uri="{FF2B5EF4-FFF2-40B4-BE49-F238E27FC236}">
                  <a16:creationId xmlns:a16="http://schemas.microsoft.com/office/drawing/2014/main" id="{BC5366BE-F541-F027-7232-78600A98FFA2}"/>
                </a:ext>
              </a:extLst>
            </p:cNvPr>
            <p:cNvGrpSpPr/>
            <p:nvPr/>
          </p:nvGrpSpPr>
          <p:grpSpPr>
            <a:xfrm>
              <a:off x="8878245" y="2200268"/>
              <a:ext cx="144167" cy="725714"/>
              <a:chOff x="6692066" y="2173624"/>
              <a:chExt cx="144167" cy="725714"/>
            </a:xfrm>
            <a:grpFill/>
          </p:grpSpPr>
          <p:sp>
            <p:nvSpPr>
              <p:cNvPr id="65" name="Freeform 64">
                <a:extLst>
                  <a:ext uri="{FF2B5EF4-FFF2-40B4-BE49-F238E27FC236}">
                    <a16:creationId xmlns:a16="http://schemas.microsoft.com/office/drawing/2014/main" id="{EA9F6B40-57C8-BDB7-F0B4-75CDE9C889EE}"/>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862D0DEA-6420-0DF5-C7E4-9EE6821AC04E}"/>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sp>
        <p:nvSpPr>
          <p:cNvPr id="2" name="Text Placeholder 12">
            <a:extLst>
              <a:ext uri="{FF2B5EF4-FFF2-40B4-BE49-F238E27FC236}">
                <a16:creationId xmlns:a16="http://schemas.microsoft.com/office/drawing/2014/main" id="{F75CCBA6-441B-5944-AFFA-EFE86A7871F6}"/>
              </a:ext>
            </a:extLst>
          </p:cNvPr>
          <p:cNvSpPr txBox="1">
            <a:spLocks/>
          </p:cNvSpPr>
          <p:nvPr/>
        </p:nvSpPr>
        <p:spPr>
          <a:xfrm>
            <a:off x="5349911" y="1908699"/>
            <a:ext cx="6378488" cy="370360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just"/>
            <a:r>
              <a:rPr lang="en-GB" sz="2000" dirty="0">
                <a:latin typeface="Calibri" panose="020F0502020204030204" pitchFamily="34" charset="0"/>
                <a:ea typeface="Lato Light" panose="020F0502020204030203" pitchFamily="34" charset="0"/>
                <a:cs typeface="Calibri" panose="020F0502020204030204" pitchFamily="34" charset="0"/>
              </a:rPr>
              <a:t>Οι στρατηγικές αποκατάστασης της φήμης ποικίλλουν ως προς το κατά πόσο εξυπηρετούν όσους κινδυνεύουν ή ζημιώνονται από την κρίση.  Η προσαρμογή σημαίνει ότι η αντίδραση επικεντρώνεται περισσότερο στη βοήθεια των θυμάτων παρά στην αντιμετώπιση των ανησυχιών των ΜΜΕ.  Ο κύριος κατάλογος ταξινομεί τις στρατηγικές αποκατάστασης της φήμης από τις λιγότερο έως τις περισσότερο διευκολυντικές στρατηγικές αποκατάστασης της φήμης.</a:t>
            </a:r>
          </a:p>
        </p:txBody>
      </p:sp>
    </p:spTree>
    <p:extLst>
      <p:ext uri="{BB962C8B-B14F-4D97-AF65-F5344CB8AC3E}">
        <p14:creationId xmlns:p14="http://schemas.microsoft.com/office/powerpoint/2010/main" val="38766475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7238C968-C39E-9A3B-89CE-FF07F4771B26}"/>
              </a:ext>
            </a:extLst>
          </p:cNvPr>
          <p:cNvSpPr>
            <a:spLocks noGrp="1"/>
          </p:cNvSpPr>
          <p:nvPr>
            <p:ph type="body" sz="quarter" idx="17"/>
          </p:nvPr>
        </p:nvSpPr>
        <p:spPr/>
        <p:txBody>
          <a:bodyPr/>
          <a:lstStyle/>
          <a:p>
            <a:r>
              <a:rPr lang="en-US" dirty="0"/>
              <a:t>01</a:t>
            </a:r>
          </a:p>
        </p:txBody>
      </p:sp>
      <p:sp>
        <p:nvSpPr>
          <p:cNvPr id="15" name="Text Placeholder 14">
            <a:extLst>
              <a:ext uri="{FF2B5EF4-FFF2-40B4-BE49-F238E27FC236}">
                <a16:creationId xmlns:a16="http://schemas.microsoft.com/office/drawing/2014/main" id="{7809C9F3-7300-02EB-CC8E-3AFB4F775186}"/>
              </a:ext>
            </a:extLst>
          </p:cNvPr>
          <p:cNvSpPr>
            <a:spLocks noGrp="1"/>
          </p:cNvSpPr>
          <p:nvPr>
            <p:ph type="body" sz="quarter" idx="16"/>
          </p:nvPr>
        </p:nvSpPr>
        <p:spPr>
          <a:xfrm>
            <a:off x="2149154" y="1264769"/>
            <a:ext cx="4452814" cy="2588774"/>
          </a:xfrm>
        </p:spPr>
        <p:txBody>
          <a:bodyPr>
            <a:normAutofit/>
          </a:bodyPr>
          <a:lstStyle/>
          <a:p>
            <a:r>
              <a:rPr lang="en-US" dirty="0"/>
              <a:t>ΤΙ Ε</a:t>
            </a:r>
            <a:r>
              <a:rPr lang="el-GR" dirty="0"/>
              <a:t>Ι</a:t>
            </a:r>
            <a:r>
              <a:rPr lang="en-US" dirty="0"/>
              <a:t>ΝΑΙ Η ΕΠΙΧΕΙΡΗΜΑΤΙΚ</a:t>
            </a:r>
            <a:r>
              <a:rPr lang="el-GR" dirty="0"/>
              <a:t>Η</a:t>
            </a:r>
            <a:r>
              <a:rPr lang="en-US" dirty="0"/>
              <a:t> ΚΡ</a:t>
            </a:r>
            <a:r>
              <a:rPr lang="el-GR" dirty="0"/>
              <a:t>Ι</a:t>
            </a:r>
            <a:r>
              <a:rPr lang="en-US" dirty="0"/>
              <a:t>ΣΗ;</a:t>
            </a:r>
          </a:p>
          <a:p>
            <a:endParaRPr lang="en-US" dirty="0"/>
          </a:p>
          <a:p>
            <a:endParaRPr lang="en-US" dirty="0"/>
          </a:p>
        </p:txBody>
      </p:sp>
    </p:spTree>
    <p:extLst>
      <p:ext uri="{BB962C8B-B14F-4D97-AF65-F5344CB8AC3E}">
        <p14:creationId xmlns:p14="http://schemas.microsoft.com/office/powerpoint/2010/main" val="9455183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751500"/>
            <a:ext cx="3291071" cy="4658741"/>
          </a:xfrm>
        </p:spPr>
        <p:txBody>
          <a:bodyPr>
            <a:normAutofit fontScale="55000" lnSpcReduction="20000"/>
          </a:bodyPr>
          <a:lstStyle/>
          <a:p>
            <a:pPr>
              <a:lnSpc>
                <a:spcPct val="120000"/>
              </a:lnSpc>
            </a:pPr>
            <a:endParaRPr lang="el-GR" sz="3800" dirty="0">
              <a:solidFill>
                <a:schemeClr val="bg1"/>
              </a:solidFill>
              <a:hlinkClick r:id="rId2">
                <a:extLst>
                  <a:ext uri="{A12FA001-AC4F-418D-AE19-62706E023703}">
                    <ahyp:hlinkClr xmlns:ahyp="http://schemas.microsoft.com/office/drawing/2018/hyperlinkcolor" val="tx"/>
                  </a:ext>
                </a:extLst>
              </a:hlinkClick>
            </a:endParaRPr>
          </a:p>
          <a:p>
            <a:pPr>
              <a:lnSpc>
                <a:spcPct val="120000"/>
              </a:lnSpc>
            </a:pPr>
            <a:endParaRPr lang="el-GR" sz="3800" dirty="0">
              <a:solidFill>
                <a:schemeClr val="bg1"/>
              </a:solidFill>
              <a:hlinkClick r:id="rId2">
                <a:extLst>
                  <a:ext uri="{A12FA001-AC4F-418D-AE19-62706E023703}">
                    <ahyp:hlinkClr xmlns:ahyp="http://schemas.microsoft.com/office/drawing/2018/hyperlinkcolor" val="tx"/>
                  </a:ext>
                </a:extLst>
              </a:hlinkClick>
            </a:endParaRPr>
          </a:p>
          <a:p>
            <a:pPr>
              <a:lnSpc>
                <a:spcPct val="120000"/>
              </a:lnSpc>
            </a:pPr>
            <a:r>
              <a:rPr lang="en-GB" sz="3800" dirty="0" err="1">
                <a:solidFill>
                  <a:schemeClr val="bg1"/>
                </a:solidFill>
                <a:hlinkClick r:id="rId2">
                  <a:extLst>
                    <a:ext uri="{A12FA001-AC4F-418D-AE19-62706E023703}">
                      <ahyp:hlinkClr xmlns:ahyp="http://schemas.microsoft.com/office/drawing/2018/hyperlinkcolor" val="tx"/>
                    </a:ext>
                  </a:extLst>
                </a:hlinkClick>
              </a:rPr>
              <a:t>Ξε</a:t>
            </a:r>
            <a:r>
              <a:rPr lang="en-GB" sz="3800" dirty="0">
                <a:solidFill>
                  <a:schemeClr val="bg1"/>
                </a:solidFill>
                <a:hlinkClick r:id="rId2">
                  <a:extLst>
                    <a:ext uri="{A12FA001-AC4F-418D-AE19-62706E023703}">
                      <ahyp:hlinkClr xmlns:ahyp="http://schemas.microsoft.com/office/drawing/2018/hyperlinkcolor" val="tx"/>
                    </a:ext>
                  </a:extLst>
                </a:hlinkClick>
              </a:rPr>
              <a:t>περνώντας το Brexit: Πώς μια μικρή ιρλανδική επιχείρηση μετέτρεψε την κρίση σε ευκαιρία - Independent.ie</a:t>
            </a:r>
            <a:endParaRPr lang="en-GB" sz="3800" dirty="0">
              <a:solidFill>
                <a:schemeClr val="bg1"/>
              </a:solidFill>
            </a:endParaRPr>
          </a:p>
          <a:p>
            <a:endParaRPr lang="el-GR" sz="4500" dirty="0">
              <a:solidFill>
                <a:schemeClr val="bg1"/>
              </a:solidFill>
            </a:endParaRPr>
          </a:p>
          <a:p>
            <a:endParaRPr lang="en-GB" sz="4500" dirty="0">
              <a:solidFill>
                <a:schemeClr val="bg1"/>
              </a:solidFill>
            </a:endParaRPr>
          </a:p>
          <a:p>
            <a:r>
              <a:rPr lang="en-US" sz="3800" dirty="0">
                <a:solidFill>
                  <a:schemeClr val="bg1"/>
                </a:solidFill>
              </a:rPr>
              <a:t>Ευγενική προσφορά : </a:t>
            </a:r>
            <a:r>
              <a:rPr lang="en-US" sz="4000" dirty="0">
                <a:solidFill>
                  <a:schemeClr val="bg1"/>
                </a:solidFill>
              </a:rPr>
              <a:t>Local Enterprise Office, Ιρλανδία</a:t>
            </a:r>
            <a:endParaRPr lang="en-US" sz="4500" dirty="0">
              <a:solidFill>
                <a:schemeClr val="bg1"/>
              </a:solidFill>
            </a:endParaRPr>
          </a:p>
          <a:p>
            <a:endParaRPr lang="en-US" sz="3200" dirty="0"/>
          </a:p>
          <a:p>
            <a:endParaRPr lang="en-US" dirty="0"/>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52469" y="780440"/>
            <a:ext cx="8215987" cy="4985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r>
              <a:rPr lang="en-GB" sz="2000" b="0" i="0" dirty="0">
                <a:solidFill>
                  <a:srgbClr val="595959"/>
                </a:solidFill>
                <a:effectLst/>
                <a:latin typeface="Nuacht Serif Text"/>
              </a:rPr>
              <a:t>Όταν ψηφίστηκε το Brexit το καλοκαίρι του 2016, ο Ιρλανδός επιχειρηματίας Peter Morrow της </a:t>
            </a:r>
            <a:r>
              <a:rPr lang="en-GB" sz="2000" b="0" i="0" dirty="0">
                <a:solidFill>
                  <a:srgbClr val="595959"/>
                </a:solidFill>
                <a:effectLst/>
                <a:latin typeface="Nuacht Serif Text"/>
                <a:hlinkClick r:id="rId3"/>
              </a:rPr>
              <a:t>SKYLARK Stairs </a:t>
            </a:r>
            <a:r>
              <a:rPr lang="en-GB" sz="2000" b="0" i="0" dirty="0">
                <a:solidFill>
                  <a:srgbClr val="595959"/>
                </a:solidFill>
                <a:effectLst/>
                <a:latin typeface="Nuacht Serif Text"/>
              </a:rPr>
              <a:t>ήξερε ότι η επιχείρηση ηλεκτρικών σκαλοπατιών σοφίτας του είχε πρόβλημα.  Το 90pc της επιχείρησής του προερχόταν από την αγορά του Ηνωμένου Βασιλείου. </a:t>
            </a:r>
          </a:p>
          <a:p>
            <a:pPr algn="l"/>
            <a:endParaRPr lang="en-GB" sz="2000" b="0" i="0" dirty="0">
              <a:solidFill>
                <a:srgbClr val="595959"/>
              </a:solidFill>
              <a:effectLst/>
              <a:latin typeface="Nuacht Serif Text"/>
            </a:endParaRPr>
          </a:p>
          <a:p>
            <a:pPr algn="l"/>
            <a:r>
              <a:rPr lang="en-GB" sz="2000" b="0" i="0" dirty="0">
                <a:solidFill>
                  <a:srgbClr val="595959"/>
                </a:solidFill>
                <a:effectLst/>
                <a:latin typeface="Nuacht Serif Text"/>
              </a:rPr>
              <a:t>Ξαφνικά, η αβεβαιότητα που δημιουργήθηκε από την απόφαση του Ηνωμένου Βασιλείου να εγκαταλείψει την Ευρωπαϊκή Ένωση θα μπορούσε να αποδεκατίσει τα προς το ζην.</a:t>
            </a:r>
          </a:p>
          <a:p>
            <a:pPr algn="l"/>
            <a:endParaRPr lang="en-GB" sz="2000" dirty="0">
              <a:solidFill>
                <a:srgbClr val="595959"/>
              </a:solidFill>
              <a:latin typeface="Nuacht Serif Text"/>
            </a:endParaRPr>
          </a:p>
          <a:p>
            <a:pPr algn="l"/>
            <a:r>
              <a:rPr lang="en-GB" sz="2000" b="0" i="0" dirty="0">
                <a:solidFill>
                  <a:srgbClr val="595959"/>
                </a:solidFill>
                <a:effectLst/>
                <a:latin typeface="Nuacht Serif Text"/>
              </a:rPr>
              <a:t>Ωστόσο, έχοντας ζητήσει τη βοήθεια του </a:t>
            </a:r>
            <a:r>
              <a:rPr lang="en-GB" sz="2000" b="0" i="0" dirty="0">
                <a:solidFill>
                  <a:srgbClr val="595959"/>
                </a:solidFill>
                <a:effectLst/>
                <a:latin typeface="Nuacht Serif Text"/>
                <a:hlinkClick r:id="rId4"/>
              </a:rPr>
              <a:t>Τοπικού Γραφείου Επιχειρήσεων στο Galway, η </a:t>
            </a:r>
            <a:r>
              <a:rPr lang="en-GB" sz="2000" b="0" i="0" dirty="0">
                <a:solidFill>
                  <a:srgbClr val="595959"/>
                </a:solidFill>
                <a:effectLst/>
                <a:latin typeface="Nuacht Serif Text"/>
              </a:rPr>
              <a:t>επιχείρηση του Peter ακμάζει και πάλι, αφού του δόθηκαν τα εργαλεία για να φέρει την επιχείρησή του τόσο στις Ηνωμένες Πολιτείες όσο και στην Αυστραλία.  Συμμετείχε σε ένα πρόγραμμα που ονομάζεται </a:t>
            </a:r>
            <a:r>
              <a:rPr lang="en-GB" sz="2000" b="0" i="0" dirty="0">
                <a:solidFill>
                  <a:srgbClr val="595959"/>
                </a:solidFill>
                <a:effectLst/>
                <a:latin typeface="Nuacht Serif Text"/>
                <a:hlinkClick r:id="rId5"/>
              </a:rPr>
              <a:t>Lean for Micro</a:t>
            </a:r>
            <a:r>
              <a:rPr lang="en-GB" sz="2000" b="0" i="0" dirty="0">
                <a:solidFill>
                  <a:srgbClr val="595959"/>
                </a:solidFill>
                <a:effectLst/>
                <a:latin typeface="Nuacht Serif Text"/>
              </a:rPr>
              <a:t>.  </a:t>
            </a:r>
          </a:p>
          <a:p>
            <a:pPr algn="l"/>
            <a:endParaRPr lang="en-GB" sz="2000" dirty="0">
              <a:solidFill>
                <a:srgbClr val="595959"/>
              </a:solidFill>
              <a:latin typeface="Nuacht Serif Tex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IE" altLang="en-US" sz="1800" b="0" i="0" u="none" strike="noStrike" cap="none" normalizeH="0" baseline="0" dirty="0">
              <a:ln>
                <a:noFill/>
              </a:ln>
              <a:solidFill>
                <a:schemeClr val="tx1"/>
              </a:solidFill>
              <a:effectLst/>
              <a:latin typeface="Arial" panose="020B0604020202020204" pitchFamily="34" charset="0"/>
            </a:endParaRP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5" name="Picture 4">
            <a:extLst>
              <a:ext uri="{FF2B5EF4-FFF2-40B4-BE49-F238E27FC236}">
                <a16:creationId xmlns:a16="http://schemas.microsoft.com/office/drawing/2014/main" id="{565803FC-720F-D576-A476-A414FA274A34}"/>
              </a:ext>
            </a:extLst>
          </p:cNvPr>
          <p:cNvPicPr>
            <a:picLocks noChangeAspect="1"/>
          </p:cNvPicPr>
          <p:nvPr/>
        </p:nvPicPr>
        <p:blipFill>
          <a:blip r:embed="rId6"/>
          <a:stretch>
            <a:fillRect/>
          </a:stretch>
        </p:blipFill>
        <p:spPr>
          <a:xfrm>
            <a:off x="223444" y="3689229"/>
            <a:ext cx="3111660" cy="2368672"/>
          </a:xfrm>
          <a:prstGeom prst="rect">
            <a:avLst/>
          </a:prstGeom>
        </p:spPr>
      </p:pic>
    </p:spTree>
    <p:extLst>
      <p:ext uri="{BB962C8B-B14F-4D97-AF65-F5344CB8AC3E}">
        <p14:creationId xmlns:p14="http://schemas.microsoft.com/office/powerpoint/2010/main" val="6418794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572475"/>
            <a:ext cx="3291071" cy="4658741"/>
          </a:xfrm>
        </p:spPr>
        <p:txBody>
          <a:bodyPr>
            <a:normAutofit fontScale="55000" lnSpcReduction="20000"/>
          </a:bodyPr>
          <a:lstStyle/>
          <a:p>
            <a:pPr>
              <a:lnSpc>
                <a:spcPct val="120000"/>
              </a:lnSpc>
            </a:pPr>
            <a:r>
              <a:rPr lang="en-GB" sz="4600" dirty="0">
                <a:solidFill>
                  <a:schemeClr val="bg1"/>
                </a:solidFill>
                <a:hlinkClick r:id="rId2">
                  <a:extLst>
                    <a:ext uri="{A12FA001-AC4F-418D-AE19-62706E023703}">
                      <ahyp:hlinkClr xmlns:ahyp="http://schemas.microsoft.com/office/drawing/2018/hyperlinkcolor" val="tx"/>
                    </a:ext>
                  </a:extLst>
                </a:hlinkClick>
              </a:rPr>
              <a:t>Ξεπερνώντας το Brexit: Πώς μια μικρή ιρλανδική επιχείρηση μετέτρεψε την κρίση σε ευκαιρία - Independent.ie</a:t>
            </a:r>
            <a:endParaRPr lang="en-GB" sz="4600" dirty="0">
              <a:solidFill>
                <a:schemeClr val="bg1"/>
              </a:solidFill>
            </a:endParaRPr>
          </a:p>
          <a:p>
            <a:endParaRPr lang="en-GB" sz="5100" dirty="0">
              <a:solidFill>
                <a:schemeClr val="bg1"/>
              </a:solidFill>
            </a:endParaRPr>
          </a:p>
          <a:p>
            <a:r>
              <a:rPr lang="en-US" sz="5100" dirty="0">
                <a:solidFill>
                  <a:schemeClr val="bg1"/>
                </a:solidFill>
              </a:rPr>
              <a:t>Ευγενική προσφορά : Local Enterprise Office, Ιρλανδία</a:t>
            </a:r>
          </a:p>
          <a:p>
            <a:endParaRPr lang="en-US" dirty="0"/>
          </a:p>
          <a:p>
            <a:endParaRPr lang="en-US" dirty="0"/>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52469" y="749662"/>
            <a:ext cx="8215987" cy="5047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endParaRPr lang="en-GB" sz="2400" dirty="0">
              <a:solidFill>
                <a:srgbClr val="595959"/>
              </a:solidFill>
              <a:latin typeface="Nuacht Serif Text"/>
            </a:endParaRPr>
          </a:p>
          <a:p>
            <a:pPr algn="l"/>
            <a:r>
              <a:rPr lang="en-GB" sz="2400" b="0" i="0" dirty="0">
                <a:solidFill>
                  <a:srgbClr val="595959"/>
                </a:solidFill>
                <a:effectLst/>
                <a:latin typeface="Nuacht Serif Text"/>
              </a:rPr>
              <a:t>Η Breda Fox, επικεφαλής του LEO Galway εξηγεί...</a:t>
            </a:r>
          </a:p>
          <a:p>
            <a:pPr algn="l"/>
            <a:endParaRPr lang="en-GB" sz="2400" dirty="0">
              <a:solidFill>
                <a:srgbClr val="595959"/>
              </a:solidFill>
              <a:latin typeface="Nuacht Serif Text"/>
            </a:endParaRPr>
          </a:p>
          <a:p>
            <a:pPr algn="l"/>
            <a:r>
              <a:rPr lang="en-GB" sz="2400" b="0" i="1" dirty="0">
                <a:solidFill>
                  <a:srgbClr val="595959"/>
                </a:solidFill>
                <a:effectLst/>
                <a:latin typeface="Nuacht Serif Text"/>
              </a:rPr>
              <a:t>"Στην περίπτωση του Peter, πίστευε ότι έπρεπε να επενδύσει σε νέο εξοπλισμό το 2016 για να ανταποκριθεί στη ζήτηση των ΗΠΑ, αλλά μετά την παρέμβαση Lean, η επιχείρηση μεταμορφώθηκε και η παραγωγικότητα διπλασιάστηκε χωρίς πρόσθετη επένδυση. Ένα παράδειγμα είναι μια διαδικασία συσκευασίας που αρχικά χρειαζόταν δύο άνδρες 90 λεπτά μειώθηκε σε έναν άνθρωπο και 10 λεπτά. Τώρα είναι ο καλύτερος υποστηρικτής του προγράμματος, επειδή έχει βιώσει τον πραγματικό αντίκτυπο του προγράμματος στην επιχείρησή του".</a:t>
            </a:r>
          </a:p>
          <a:p>
            <a:pPr algn="l"/>
            <a:endParaRPr lang="en-GB" sz="2400" dirty="0">
              <a:solidFill>
                <a:srgbClr val="595959"/>
              </a:solidFill>
              <a:latin typeface="Nuacht Serif Text"/>
            </a:endParaRPr>
          </a:p>
          <a:p>
            <a:pPr eaLnBrk="0" fontAlgn="base" hangingPunct="0">
              <a:spcBef>
                <a:spcPct val="0"/>
              </a:spcBef>
              <a:spcAft>
                <a:spcPct val="0"/>
              </a:spcAft>
            </a:pPr>
            <a:r>
              <a:rPr lang="en-US" sz="1600" i="1" dirty="0">
                <a:solidFill>
                  <a:srgbClr val="595959"/>
                </a:solidFill>
              </a:rPr>
              <a:t>Ευγενική προσφορά : Local Enterprise Office, Ιρλανδία</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IE" altLang="en-US" sz="1800" b="0" i="0" u="none" strike="noStrike" cap="none" normalizeH="0" baseline="0" dirty="0">
              <a:ln>
                <a:noFill/>
              </a:ln>
              <a:solidFill>
                <a:schemeClr val="tx1"/>
              </a:solidFill>
              <a:effectLst/>
              <a:latin typeface="Arial" panose="020B0604020202020204" pitchFamily="34" charset="0"/>
            </a:endParaRP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5" name="Picture 4">
            <a:extLst>
              <a:ext uri="{FF2B5EF4-FFF2-40B4-BE49-F238E27FC236}">
                <a16:creationId xmlns:a16="http://schemas.microsoft.com/office/drawing/2014/main" id="{565803FC-720F-D576-A476-A414FA274A34}"/>
              </a:ext>
            </a:extLst>
          </p:cNvPr>
          <p:cNvPicPr>
            <a:picLocks noChangeAspect="1"/>
          </p:cNvPicPr>
          <p:nvPr/>
        </p:nvPicPr>
        <p:blipFill>
          <a:blip r:embed="rId3"/>
          <a:stretch>
            <a:fillRect/>
          </a:stretch>
        </p:blipFill>
        <p:spPr>
          <a:xfrm>
            <a:off x="223444" y="3689229"/>
            <a:ext cx="3111660" cy="2368672"/>
          </a:xfrm>
          <a:prstGeom prst="rect">
            <a:avLst/>
          </a:prstGeom>
        </p:spPr>
      </p:pic>
    </p:spTree>
    <p:extLst>
      <p:ext uri="{BB962C8B-B14F-4D97-AF65-F5344CB8AC3E}">
        <p14:creationId xmlns:p14="http://schemas.microsoft.com/office/powerpoint/2010/main" val="32957984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3 </a:t>
            </a:r>
            <a:r>
              <a:rPr lang="el-GR" sz="4000" dirty="0">
                <a:solidFill>
                  <a:schemeClr val="bg1"/>
                </a:solidFill>
              </a:rPr>
              <a:t>	</a:t>
            </a:r>
            <a:r>
              <a:rPr lang="en-US" dirty="0" err="1">
                <a:solidFill>
                  <a:schemeClr val="bg1"/>
                </a:solidFill>
              </a:rPr>
              <a:t>Φάση</a:t>
            </a:r>
            <a:r>
              <a:rPr lang="en-US" dirty="0">
                <a:solidFill>
                  <a:schemeClr val="bg1"/>
                </a:solidFill>
              </a:rPr>
              <a:t> μετά την κρίση</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78963" y="1620552"/>
            <a:ext cx="9515167" cy="4650317"/>
          </a:xfrm>
        </p:spPr>
        <p:txBody>
          <a:bodyPr>
            <a:normAutofit/>
          </a:bodyPr>
          <a:lstStyle/>
          <a:p>
            <a:pPr marL="12700" indent="-12700" algn="just"/>
            <a:r>
              <a:rPr lang="en-GB" sz="1800" dirty="0">
                <a:latin typeface="Calibri" panose="020F0502020204030204" pitchFamily="34" charset="0"/>
                <a:ea typeface="Lato Light" panose="020F0502020204030203" pitchFamily="34" charset="0"/>
                <a:cs typeface="Calibri" panose="020F0502020204030204" pitchFamily="34" charset="0"/>
              </a:rPr>
              <a:t>Στη φάση μετά την κρίση, ο οργανισμός </a:t>
            </a:r>
            <a:r>
              <a:rPr lang="en-GB" sz="1800" b="1" u="sng" dirty="0">
                <a:latin typeface="Calibri" panose="020F0502020204030204" pitchFamily="34" charset="0"/>
                <a:ea typeface="Lato Light" panose="020F0502020204030203" pitchFamily="34" charset="0"/>
                <a:cs typeface="Calibri" panose="020F0502020204030204" pitchFamily="34" charset="0"/>
              </a:rPr>
              <a:t>επιστρέφει στις συνήθεις δραστηριότητες</a:t>
            </a:r>
            <a:r>
              <a:rPr lang="en-GB" sz="1800" dirty="0">
                <a:latin typeface="Calibri" panose="020F0502020204030204" pitchFamily="34" charset="0"/>
                <a:ea typeface="Lato Light" panose="020F0502020204030203" pitchFamily="34" charset="0"/>
                <a:cs typeface="Calibri" panose="020F0502020204030204" pitchFamily="34" charset="0"/>
              </a:rPr>
              <a:t>. Η κρίση δεν είναι πλέον το επίκεντρο της προσοχής της διοίκησης, αλλά εξακολουθεί να απαιτεί κάποια προσοχή.  Όπως σημειώθηκε προηγουμένως, η αποκατάσταση της φήμης μπορεί να συνεχιστεί ή να ξεκινήσει κατά τη διάρκεια αυτής της φάσης. Απαιτείται σημαντική επικοινωνία παρακολούθησης. </a:t>
            </a:r>
          </a:p>
          <a:p>
            <a:pPr marL="12700" indent="-12700" algn="just"/>
            <a:r>
              <a:rPr lang="en-GB" sz="1800" dirty="0">
                <a:latin typeface="Calibri" panose="020F0502020204030204" pitchFamily="34" charset="0"/>
                <a:ea typeface="Lato Light" panose="020F0502020204030203" pitchFamily="34" charset="0"/>
                <a:cs typeface="Calibri" panose="020F0502020204030204" pitchFamily="34" charset="0"/>
              </a:rPr>
              <a:t>Πρώτον, οι διαχειριστές κρίσεων συχνά υπόσχονται να παράσχουν πρόσθετες πληροφορίες κατά τη φάση της κρίσης.  Οι διαχειριστές κρίσεων πρέπει να τηρήσουν αυτές τις ενημερωτικές υποσχέσεις, διαφορετικά κινδυνεύουν να χάσουν την εμπιστοσύνη εκείνων που θέλουν τις πληροφορίες. </a:t>
            </a:r>
          </a:p>
          <a:p>
            <a:pPr marL="12700" indent="-12700" algn="just"/>
            <a:endParaRPr lang="en-GB" sz="2000" dirty="0">
              <a:latin typeface="Calibri" panose="020F0502020204030204" pitchFamily="34" charset="0"/>
              <a:ea typeface="Lato Light" panose="020F0502020204030203" pitchFamily="34" charset="0"/>
              <a:cs typeface="Calibri" panose="020F0502020204030204" pitchFamily="34" charset="0"/>
            </a:endParaRPr>
          </a:p>
          <a:p>
            <a:pPr marL="12700" indent="-12700" algn="just"/>
            <a:endParaRPr lang="en-GB" sz="2200" dirty="0">
              <a:latin typeface="Calibri" panose="020F0502020204030204" pitchFamily="34" charset="0"/>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965219"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5851682">
            <a:off x="9416359" y="5871417"/>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3B09A200-5ACA-5C9E-86ED-3672D4D3F9C2}"/>
              </a:ext>
            </a:extLst>
          </p:cNvPr>
          <p:cNvGrpSpPr/>
          <p:nvPr/>
        </p:nvGrpSpPr>
        <p:grpSpPr>
          <a:xfrm>
            <a:off x="492230" y="1865708"/>
            <a:ext cx="936321" cy="1086657"/>
            <a:chOff x="8360213" y="3458151"/>
            <a:chExt cx="853935" cy="991043"/>
          </a:xfrm>
          <a:solidFill>
            <a:srgbClr val="595959"/>
          </a:solidFill>
        </p:grpSpPr>
        <p:grpSp>
          <p:nvGrpSpPr>
            <p:cNvPr id="48" name="Graphic 2">
              <a:extLst>
                <a:ext uri="{FF2B5EF4-FFF2-40B4-BE49-F238E27FC236}">
                  <a16:creationId xmlns:a16="http://schemas.microsoft.com/office/drawing/2014/main" id="{6FC34111-DD80-D16E-E0DB-1ED06B7E4A82}"/>
                </a:ext>
              </a:extLst>
            </p:cNvPr>
            <p:cNvGrpSpPr/>
            <p:nvPr userDrawn="1"/>
          </p:nvGrpSpPr>
          <p:grpSpPr>
            <a:xfrm>
              <a:off x="8599192" y="3595917"/>
              <a:ext cx="375982" cy="204367"/>
              <a:chOff x="2642504" y="3763150"/>
              <a:chExt cx="375982" cy="204367"/>
            </a:xfrm>
            <a:grpFill/>
          </p:grpSpPr>
          <p:sp>
            <p:nvSpPr>
              <p:cNvPr id="54" name="Freeform 53">
                <a:extLst>
                  <a:ext uri="{FF2B5EF4-FFF2-40B4-BE49-F238E27FC236}">
                    <a16:creationId xmlns:a16="http://schemas.microsoft.com/office/drawing/2014/main" id="{A6274AE0-0312-5AB5-E3C8-8DD532DD93E5}"/>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F5094BC4-0309-65C2-F73B-72BC907BDAE4}"/>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endParaRPr lang="en-US"/>
              </a:p>
            </p:txBody>
          </p:sp>
        </p:grpSp>
        <p:grpSp>
          <p:nvGrpSpPr>
            <p:cNvPr id="49" name="Graphic 2">
              <a:extLst>
                <a:ext uri="{FF2B5EF4-FFF2-40B4-BE49-F238E27FC236}">
                  <a16:creationId xmlns:a16="http://schemas.microsoft.com/office/drawing/2014/main" id="{C29A601B-D5CC-BA82-C8E1-30BBF61646D0}"/>
                </a:ext>
              </a:extLst>
            </p:cNvPr>
            <p:cNvGrpSpPr/>
            <p:nvPr userDrawn="1"/>
          </p:nvGrpSpPr>
          <p:grpSpPr>
            <a:xfrm>
              <a:off x="8360213" y="3458151"/>
              <a:ext cx="853935" cy="991043"/>
              <a:chOff x="2403525" y="3625384"/>
              <a:chExt cx="853935" cy="991043"/>
            </a:xfrm>
            <a:grpFill/>
          </p:grpSpPr>
          <p:sp>
            <p:nvSpPr>
              <p:cNvPr id="50" name="Freeform 49">
                <a:extLst>
                  <a:ext uri="{FF2B5EF4-FFF2-40B4-BE49-F238E27FC236}">
                    <a16:creationId xmlns:a16="http://schemas.microsoft.com/office/drawing/2014/main" id="{E296E4D0-B97A-466C-47AD-CC6216B07545}"/>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F06EF388-E7B5-8EEF-7C97-9C7443F7D953}"/>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3B34B5A4-F72E-8A5B-9938-7DDCA83BAAA8}"/>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75E60E10-11BC-D1C9-5422-695345C11ED5}"/>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39" name="TextBox 38">
            <a:extLst>
              <a:ext uri="{FF2B5EF4-FFF2-40B4-BE49-F238E27FC236}">
                <a16:creationId xmlns:a16="http://schemas.microsoft.com/office/drawing/2014/main" id="{13AB6038-8230-FAFD-A672-34E7550E42E1}"/>
              </a:ext>
            </a:extLst>
          </p:cNvPr>
          <p:cNvSpPr txBox="1"/>
          <p:nvPr/>
        </p:nvSpPr>
        <p:spPr>
          <a:xfrm>
            <a:off x="1908133" y="4164785"/>
            <a:ext cx="6097772" cy="2308324"/>
          </a:xfrm>
          <a:prstGeom prst="rect">
            <a:avLst/>
          </a:prstGeom>
          <a:noFill/>
        </p:spPr>
        <p:txBody>
          <a:bodyPr wrap="square">
            <a:spAutoFit/>
          </a:bodyPr>
          <a:lstStyle/>
          <a:p>
            <a:pPr marL="12700" indent="-12700" algn="just"/>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Δεύτερον, η ΜΜΕ πρέπει να δημοσιεύει ενημερώσεις σχετικά με τη διαδικασία ανάκαμψης, τις διορθωτικές ενέργειες και/ή τις έρευνες για την κρίση με τα βασικά ενδιαφερόμενα μέρη που έχουν σημασία.  Η ποσότητα της απαιτούμενης επικοινωνίας παρακολούθησης εξαρτάται από τον όγκο των πληροφοριών που υποσχέθηκαν κατά τη διάρκεια της κρίσης και το χρονικό διάστημα που απαιτείται για την ολοκλήρωση της διαδικασίας ανάκαμψης.  </a:t>
            </a:r>
          </a:p>
        </p:txBody>
      </p:sp>
    </p:spTree>
    <p:extLst>
      <p:ext uri="{BB962C8B-B14F-4D97-AF65-F5344CB8AC3E}">
        <p14:creationId xmlns:p14="http://schemas.microsoft.com/office/powerpoint/2010/main" val="1039357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r>
              <a:rPr lang="en-US" dirty="0" err="1">
                <a:hlinkClick r:id="rId2">
                  <a:extLst>
                    <a:ext uri="{A12FA001-AC4F-418D-AE19-62706E023703}">
                      <ahyp:hlinkClr xmlns:ahyp="http://schemas.microsoft.com/office/drawing/2018/hyperlinkcolor" val="tx"/>
                    </a:ext>
                  </a:extLst>
                </a:hlinkClick>
              </a:rPr>
              <a:t>www.facebook.com/SECure.ErasmusProject</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r>
              <a:rPr lang="en-US" dirty="0" err="1">
                <a:hlinkClick r:id="rId4">
                  <a:extLst>
                    <a:ext uri="{A12FA001-AC4F-418D-AE19-62706E023703}">
                      <ahyp:hlinkClr xmlns:ahyp="http://schemas.microsoft.com/office/drawing/2018/hyperlinkcolor" val="tx"/>
                    </a:ext>
                  </a:extLst>
                </a:hlinkClick>
              </a:rPr>
              <a:t>www.linkedin.com/company/secure-project/</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6" y="5747113"/>
            <a:ext cx="3774510" cy="666296"/>
          </a:xfrm>
        </p:spPr>
        <p:txBody>
          <a:bodyPr>
            <a:normAutofit fontScale="92500"/>
          </a:bodyPr>
          <a:lstStyle/>
          <a:p>
            <a:r>
              <a:rPr lang="en-US" dirty="0" err="1"/>
              <a:t>www. </a:t>
            </a:r>
            <a:r>
              <a:rPr lang="en-US" b="1" dirty="0" err="1"/>
              <a:t>smecrisistoolkit. </a:t>
            </a:r>
            <a:r>
              <a:rPr lang="en-US" dirty="0" err="1"/>
              <a:t>eu</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591630" cy="1239648"/>
          </a:xfrm>
        </p:spPr>
        <p:txBody>
          <a:bodyPr>
            <a:normAutofit fontScale="77500" lnSpcReduction="20000"/>
          </a:bodyPr>
          <a:lstStyle/>
          <a:p>
            <a:endParaRPr lang="el-GR" sz="2600" dirty="0"/>
          </a:p>
          <a:p>
            <a:r>
              <a:rPr lang="en-US" sz="2600" dirty="0"/>
              <a:t>ΜΙΑ ΚΡ</a:t>
            </a:r>
            <a:r>
              <a:rPr lang="el-GR" sz="2600" dirty="0"/>
              <a:t>Ι</a:t>
            </a:r>
            <a:r>
              <a:rPr lang="en-US" sz="2600" dirty="0"/>
              <a:t>ΣΗ </a:t>
            </a:r>
            <a:r>
              <a:rPr lang="el-GR" sz="2600" dirty="0"/>
              <a:t>ΠΡΟΕΡΧΟΜΕΝΗ </a:t>
            </a:r>
            <a:r>
              <a:rPr lang="en-US" sz="2600" dirty="0"/>
              <a:t>ΑΠ</a:t>
            </a:r>
            <a:r>
              <a:rPr lang="el-GR" sz="2600" dirty="0"/>
              <a:t>Ο</a:t>
            </a:r>
            <a:r>
              <a:rPr lang="en-US" sz="2600" dirty="0"/>
              <a:t> ΕΞΩΤΕΡΙΚΟ</a:t>
            </a:r>
            <a:r>
              <a:rPr lang="el-GR" sz="2600" dirty="0"/>
              <a:t>Υ</a:t>
            </a:r>
            <a:r>
              <a:rPr lang="en-US" sz="2600" dirty="0"/>
              <a:t>Σ ΑΝΑΠ</a:t>
            </a:r>
            <a:r>
              <a:rPr lang="el-GR" sz="2600" dirty="0"/>
              <a:t>Ο</a:t>
            </a:r>
            <a:r>
              <a:rPr lang="en-US" sz="2600" dirty="0"/>
              <a:t>ΦΕΥΚΤΟΥΣ ΠΑΡ</a:t>
            </a:r>
            <a:r>
              <a:rPr lang="el-GR" sz="2600" dirty="0"/>
              <a:t>Α</a:t>
            </a:r>
            <a:r>
              <a:rPr lang="en-US" sz="2600" dirty="0"/>
              <a:t>ΓΟΝΤΕΣ </a:t>
            </a:r>
          </a:p>
          <a:p>
            <a:endParaRPr lang="en-US" dirty="0"/>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a:xfrm>
            <a:off x="1269930" y="510737"/>
            <a:ext cx="3774510" cy="723674"/>
          </a:xfrm>
        </p:spPr>
        <p:txBody>
          <a:bodyPr>
            <a:noAutofit/>
          </a:bodyPr>
          <a:lstStyle/>
          <a:p>
            <a:r>
              <a:rPr lang="en-US" sz="3200" dirty="0">
                <a:solidFill>
                  <a:schemeClr val="bg1"/>
                </a:solidFill>
              </a:rPr>
              <a:t>Επόμενη </a:t>
            </a:r>
            <a:r>
              <a:rPr lang="en-US" sz="3200" dirty="0">
                <a:solidFill>
                  <a:srgbClr val="EDA13E"/>
                </a:solidFill>
              </a:rPr>
              <a:t>ενότητα 2..</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endParaRPr lang="en-ID"/>
            </a:p>
          </p:txBody>
        </p:sp>
      </p:grpSp>
    </p:spTree>
    <p:extLst>
      <p:ext uri="{BB962C8B-B14F-4D97-AF65-F5344CB8AC3E}">
        <p14:creationId xmlns:p14="http://schemas.microsoft.com/office/powerpoint/2010/main" val="32276633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8C0D9AF-CAF5-3F6D-473A-568E3209CC2E}"/>
              </a:ext>
            </a:extLst>
          </p:cNvPr>
          <p:cNvSpPr>
            <a:spLocks noGrp="1"/>
          </p:cNvSpPr>
          <p:nvPr>
            <p:ph type="body" sz="quarter" idx="18"/>
          </p:nvPr>
        </p:nvSpPr>
        <p:spPr>
          <a:xfrm>
            <a:off x="734714" y="1351971"/>
            <a:ext cx="10808102" cy="3922524"/>
          </a:xfrm>
        </p:spPr>
        <p:txBody>
          <a:bodyPr numCol="2" spcCol="72000">
            <a:noAutofit/>
          </a:bodyPr>
          <a:lstStyle/>
          <a:p>
            <a:pPr marL="342900" indent="-342900">
              <a:spcBef>
                <a:spcPts val="300"/>
              </a:spcBef>
              <a:buClr>
                <a:srgbClr val="F16924"/>
              </a:buClr>
              <a:buFont typeface="Arial" panose="020B0604020202020204" pitchFamily="34" charset="0"/>
              <a:buChar char="•"/>
            </a:pPr>
            <a:r>
              <a:rPr lang="en-US" sz="2000" dirty="0"/>
              <a:t>Οι μικρές και μεσαίες επιχειρήσεις (ΜΜΕ) αναφέρονται συχνά ως η ραχοκοκαλιά της ευρωπαϊκής οικονομίας, παρέχοντας μια δυνητική πηγή θέσεων εργασίας και οικονομικής ανάπτυξης. Οι ΜΜΕ ορίζονται από την Ευρωπαϊκή Επιτροπή ως επιχειρήσεις που απασχολούν λιγότερους από 250 εργαζομένους. Θα πρέπει επίσης να έχουν ετήσιο κύκλο εργασιών έως 50 εκατ. ευρώ ή σύνολο ισολογισμού που δεν υπερβαίνει τα 43 εκατ. ευρώ.  Πολλές από τις επιχειρήσεις μας είναι πολύ μικρότερες από αυτό, αλλά οι αρχές που καθορίζονται σε αυτό το μάθημα εξακολουθούν να ισχύουν. </a:t>
            </a:r>
          </a:p>
          <a:p>
            <a:pPr marL="342900" indent="-342900">
              <a:spcBef>
                <a:spcPts val="300"/>
              </a:spcBef>
              <a:buClr>
                <a:srgbClr val="F16924"/>
              </a:buClr>
              <a:buFont typeface="Arial" panose="020B0604020202020204" pitchFamily="34" charset="0"/>
              <a:buChar char="•"/>
            </a:pPr>
            <a:endParaRPr lang="en-US" sz="2000" dirty="0"/>
          </a:p>
          <a:p>
            <a:pPr marL="342900" indent="-342900">
              <a:spcBef>
                <a:spcPts val="300"/>
              </a:spcBef>
              <a:buClr>
                <a:srgbClr val="F16924"/>
              </a:buClr>
              <a:buFont typeface="Arial" panose="020B0604020202020204" pitchFamily="34" charset="0"/>
              <a:buChar char="•"/>
            </a:pPr>
            <a:endParaRPr lang="en-US" sz="2000" dirty="0"/>
          </a:p>
          <a:p>
            <a:pPr marL="342900" indent="-342900">
              <a:spcBef>
                <a:spcPts val="300"/>
              </a:spcBef>
              <a:buClr>
                <a:srgbClr val="F16924"/>
              </a:buClr>
              <a:buFont typeface="Arial" panose="020B0604020202020204" pitchFamily="34" charset="0"/>
              <a:buChar char="•"/>
            </a:pPr>
            <a:endParaRPr lang="en-US" sz="2000" dirty="0"/>
          </a:p>
          <a:p>
            <a:pPr marL="342900" indent="-342900">
              <a:spcBef>
                <a:spcPts val="300"/>
              </a:spcBef>
              <a:buClr>
                <a:srgbClr val="F16924"/>
              </a:buClr>
              <a:buFont typeface="Arial" panose="020B0604020202020204" pitchFamily="34" charset="0"/>
              <a:buChar char="•"/>
            </a:pPr>
            <a:r>
              <a:rPr lang="en-US" sz="2000" dirty="0"/>
              <a:t>Μια επιχειρηματική κρίση εμφανίζεται όταν ένα απροσδόκητο πρόβλημα θέτει σε κίνδυνο τη σταθερότητα μιας εταιρείας ή ενός οργανισμού. Τα διλήμματα αυτά μπορεί να προέρχονται είτε από το εσωτερικό της επιχείρησης είτε να προκαλούνται από εξωτερικές επιρροές </a:t>
            </a:r>
            <a:r>
              <a:rPr lang="en-US" sz="1200" dirty="0"/>
              <a:t>(Hubspot).</a:t>
            </a:r>
          </a:p>
          <a:p>
            <a:pPr marL="342900" indent="-342900">
              <a:spcBef>
                <a:spcPts val="300"/>
              </a:spcBef>
              <a:buClr>
                <a:srgbClr val="F16924"/>
              </a:buClr>
              <a:buFont typeface="Arial" panose="020B0604020202020204" pitchFamily="34" charset="0"/>
              <a:buChar char="•"/>
            </a:pPr>
            <a:r>
              <a:rPr lang="en-GB" sz="2000" dirty="0"/>
              <a:t>Γενικά, η κρίση είναι ένα απροσδόκητο και αρνητικά προσανατολισμένο γεγονός, το οποίο έχει την </a:t>
            </a:r>
          </a:p>
          <a:p>
            <a:pPr marL="342900" indent="-342900">
              <a:spcBef>
                <a:spcPts val="300"/>
              </a:spcBef>
              <a:buClr>
                <a:srgbClr val="F16924"/>
              </a:buClr>
              <a:buFont typeface="Arial" panose="020B0604020202020204" pitchFamily="34" charset="0"/>
              <a:buChar char="•"/>
            </a:pPr>
            <a:r>
              <a:rPr lang="en-GB" sz="2000" dirty="0"/>
              <a:t>δυνατότητα να οδηγήσει σε τεράστιες αρνητικές συνέπειες </a:t>
            </a:r>
            <a:r>
              <a:rPr lang="en-GB" sz="1200" dirty="0"/>
              <a:t>(Shrivastava, 1993- Pearson and Claire, 1993).</a:t>
            </a:r>
            <a:endParaRPr lang="en-US" sz="1200" dirty="0"/>
          </a:p>
          <a:p>
            <a:pPr marL="342900" indent="-342900">
              <a:spcBef>
                <a:spcPts val="300"/>
              </a:spcBef>
              <a:buClr>
                <a:srgbClr val="F16924"/>
              </a:buClr>
              <a:buFont typeface="Arial" panose="020B0604020202020204" pitchFamily="34" charset="0"/>
              <a:buChar char="•"/>
            </a:pPr>
            <a:r>
              <a:rPr lang="en-US" sz="2000" dirty="0"/>
              <a:t>Ως επιχειρηματική κρίση θεωρείται γενικά η κατάσταση μιας επιχείρησης στην οποία τα περιουσιακά της στοιχεία απειλούνται άμεσα και, συνεπώς, η συνέχιση της ύπαρξής της κινδυνεύει.</a:t>
            </a:r>
          </a:p>
          <a:p>
            <a:pPr marL="342900" indent="-342900">
              <a:spcBef>
                <a:spcPts val="300"/>
              </a:spcBef>
              <a:buClr>
                <a:srgbClr val="F16924"/>
              </a:buClr>
              <a:buFont typeface="Arial" panose="020B0604020202020204" pitchFamily="34" charset="0"/>
              <a:buChar char="•"/>
            </a:pPr>
            <a:endParaRPr lang="en-US" sz="2200" dirty="0"/>
          </a:p>
          <a:p>
            <a:pPr marL="342900" indent="-342900">
              <a:spcBef>
                <a:spcPts val="300"/>
              </a:spcBef>
              <a:buClr>
                <a:srgbClr val="F16924"/>
              </a:buClr>
              <a:buFont typeface="Arial" panose="020B0604020202020204" pitchFamily="34" charset="0"/>
              <a:buChar char="•"/>
            </a:pPr>
            <a:endParaRPr lang="en-US" sz="2200" dirty="0"/>
          </a:p>
        </p:txBody>
      </p:sp>
      <p:sp>
        <p:nvSpPr>
          <p:cNvPr id="13" name="Text Placeholder 12">
            <a:extLst>
              <a:ext uri="{FF2B5EF4-FFF2-40B4-BE49-F238E27FC236}">
                <a16:creationId xmlns:a16="http://schemas.microsoft.com/office/drawing/2014/main" id="{B9C441D9-D8FA-D34C-6091-16D5A4E0FBDE}"/>
              </a:ext>
            </a:extLst>
          </p:cNvPr>
          <p:cNvSpPr>
            <a:spLocks noGrp="1"/>
          </p:cNvSpPr>
          <p:nvPr>
            <p:ph type="body" sz="quarter" idx="16"/>
          </p:nvPr>
        </p:nvSpPr>
        <p:spPr>
          <a:xfrm>
            <a:off x="734714" y="313788"/>
            <a:ext cx="10808102" cy="582221"/>
          </a:xfrm>
        </p:spPr>
        <p:txBody>
          <a:bodyPr>
            <a:noAutofit/>
          </a:bodyPr>
          <a:lstStyle/>
          <a:p>
            <a:r>
              <a:rPr lang="en-US" dirty="0"/>
              <a:t>Τι ορίζει μια επιχειρηματική κρίση;  Ορισμένες προοπτικές </a:t>
            </a:r>
          </a:p>
          <a:p>
            <a:r>
              <a:rPr lang="en-US" dirty="0"/>
              <a:t> </a:t>
            </a:r>
          </a:p>
        </p:txBody>
      </p:sp>
    </p:spTree>
    <p:extLst>
      <p:ext uri="{BB962C8B-B14F-4D97-AF65-F5344CB8AC3E}">
        <p14:creationId xmlns:p14="http://schemas.microsoft.com/office/powerpoint/2010/main" val="13794128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AD8597D-C119-F21F-278E-FAE14351A4E3}"/>
              </a:ext>
            </a:extLst>
          </p:cNvPr>
          <p:cNvSpPr/>
          <p:nvPr/>
        </p:nvSpPr>
        <p:spPr>
          <a:xfrm>
            <a:off x="0" y="0"/>
            <a:ext cx="12191999" cy="143680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4">
            <a:extLst>
              <a:ext uri="{FF2B5EF4-FFF2-40B4-BE49-F238E27FC236}">
                <a16:creationId xmlns:a16="http://schemas.microsoft.com/office/drawing/2014/main" id="{CEB2D5A5-B845-9B90-FA0D-F386CA90F4D4}"/>
              </a:ext>
            </a:extLst>
          </p:cNvPr>
          <p:cNvSpPr>
            <a:spLocks noGrp="1"/>
          </p:cNvSpPr>
          <p:nvPr>
            <p:ph type="body" sz="quarter" idx="18"/>
          </p:nvPr>
        </p:nvSpPr>
        <p:spPr>
          <a:xfrm>
            <a:off x="246731" y="1536431"/>
            <a:ext cx="8233241" cy="4916538"/>
          </a:xfrm>
        </p:spPr>
        <p:txBody>
          <a:bodyPr>
            <a:noAutofit/>
          </a:bodyPr>
          <a:lstStyle/>
          <a:p>
            <a:pPr marL="0" indent="0" algn="just"/>
            <a:r>
              <a:rPr lang="en-GB" sz="2000" b="1" dirty="0"/>
              <a:t>Ο ευκολότερος τρόπος για να εντοπίσετε μια επιχειρηματική κρίση είναι να αξιολογήσετε ένα πρόβλημα ως προς τρία βασικά στοιχεία</a:t>
            </a:r>
            <a:r>
              <a:rPr lang="en-GB" sz="2000" dirty="0"/>
              <a:t>.</a:t>
            </a:r>
          </a:p>
          <a:p>
            <a:pPr marL="457200" indent="-457200" algn="just">
              <a:buClr>
                <a:srgbClr val="F16924"/>
              </a:buClr>
              <a:buFont typeface="+mj-lt"/>
              <a:buAutoNum type="arabicPeriod"/>
            </a:pPr>
            <a:r>
              <a:rPr lang="en-GB" sz="2000" dirty="0"/>
              <a:t>Πρώτον, το πρόβλημα πρέπει να αποτελεί άμεση απειλή για τον οργανισμό.</a:t>
            </a:r>
          </a:p>
          <a:p>
            <a:pPr marL="457200" indent="-457200" algn="just">
              <a:buClr>
                <a:srgbClr val="F16924"/>
              </a:buClr>
              <a:buFont typeface="+mj-lt"/>
              <a:buAutoNum type="arabicPeriod"/>
            </a:pPr>
            <a:r>
              <a:rPr lang="en-GB" sz="2000" dirty="0"/>
              <a:t>Στη συνέχεια, η κατάσταση πρέπει να ενέχει ένα στοιχείο αιφνιδιασμού ή σοκ.</a:t>
            </a:r>
          </a:p>
          <a:p>
            <a:pPr marL="457200" indent="-457200" algn="just">
              <a:buClr>
                <a:srgbClr val="F16924"/>
              </a:buClr>
              <a:buFont typeface="+mj-lt"/>
              <a:buAutoNum type="arabicPeriod"/>
            </a:pPr>
            <a:r>
              <a:rPr lang="en-GB" sz="2000" dirty="0"/>
              <a:t>Τέλος, λόγω της σοβαρότητας του προβλήματος καθώς και του απρόσμενου χαρακτήρα του, η κατάσταση θα ασκήσει πίεση στην επιχείρηση να λάβει έγκαιρα και αποτελεσματικά αποφάσεις. Η γνώση των στοιχείων που συνθέτουν μια επιχειρηματική κρίση μπορεί να συμβάλει καθοριστικά στον εντοπισμό αυτών των προβλημάτων πριν να είναι πολύ αργά.</a:t>
            </a:r>
          </a:p>
          <a:p>
            <a:pPr marL="0" indent="0" algn="just"/>
            <a:endParaRPr lang="en-GB" sz="100" dirty="0">
              <a:solidFill>
                <a:srgbClr val="083553"/>
              </a:solidFill>
            </a:endParaRPr>
          </a:p>
          <a:p>
            <a:pPr marL="0" indent="0" algn="just"/>
            <a:r>
              <a:rPr lang="en-GB" sz="2000" dirty="0">
                <a:solidFill>
                  <a:srgbClr val="B41F7A"/>
                </a:solidFill>
                <a:ea typeface="Open Sans Light" panose="020B0306030504020204" pitchFamily="34" charset="0"/>
                <a:cs typeface="Open Sans Light" panose="020B0306030504020204" pitchFamily="34" charset="0"/>
              </a:rPr>
              <a:t>Δεν μπορεί να αμφισβητηθεί ότι το μέγεθος έχει σημασία, καθώς οι </a:t>
            </a:r>
            <a:r>
              <a:rPr lang="en-GB" sz="2000" b="1" u="sng" dirty="0">
                <a:solidFill>
                  <a:srgbClr val="B41F7A"/>
                </a:solidFill>
                <a:ea typeface="Open Sans Light" panose="020B0306030504020204" pitchFamily="34" charset="0"/>
                <a:cs typeface="Open Sans Light" panose="020B0306030504020204" pitchFamily="34" charset="0"/>
              </a:rPr>
              <a:t>μικρές και μεσαίες επιχειρήσεις (ΜΜΕ) διατρέχουν στατιστικά μεγαλύτερο κίνδυνο επιχειρηματικών κρίσεων από ό,τι οι μεγαλύτερες εταιρείες.</a:t>
            </a:r>
            <a:endParaRPr lang="en-US" sz="2000" b="1" u="sng" dirty="0">
              <a:solidFill>
                <a:srgbClr val="B41F7A"/>
              </a:solidFill>
            </a:endParaRPr>
          </a:p>
        </p:txBody>
      </p:sp>
      <p:sp>
        <p:nvSpPr>
          <p:cNvPr id="7" name="Text Placeholder 6">
            <a:extLst>
              <a:ext uri="{FF2B5EF4-FFF2-40B4-BE49-F238E27FC236}">
                <a16:creationId xmlns:a16="http://schemas.microsoft.com/office/drawing/2014/main" id="{E29D7098-E7A2-7E96-C0FF-6B55C4A0D08D}"/>
              </a:ext>
            </a:extLst>
          </p:cNvPr>
          <p:cNvSpPr>
            <a:spLocks noGrp="1"/>
          </p:cNvSpPr>
          <p:nvPr>
            <p:ph type="body" sz="quarter" idx="16"/>
          </p:nvPr>
        </p:nvSpPr>
        <p:spPr/>
        <p:txBody>
          <a:bodyPr>
            <a:normAutofit lnSpcReduction="10000"/>
          </a:bodyPr>
          <a:lstStyle/>
          <a:p>
            <a:r>
              <a:rPr lang="en-US" dirty="0">
                <a:solidFill>
                  <a:schemeClr val="bg1"/>
                </a:solidFill>
              </a:rPr>
              <a:t>ΕΝΤΟΠΙΣΜ</a:t>
            </a:r>
            <a:r>
              <a:rPr lang="el-GR" dirty="0">
                <a:solidFill>
                  <a:schemeClr val="bg1"/>
                </a:solidFill>
              </a:rPr>
              <a:t>Ο</a:t>
            </a:r>
            <a:r>
              <a:rPr lang="en-US" dirty="0">
                <a:solidFill>
                  <a:schemeClr val="bg1"/>
                </a:solidFill>
              </a:rPr>
              <a:t>Σ ΜΙΑΣ ΕΠΙΧΕΙΡΗΜΑΤΙΚ</a:t>
            </a:r>
            <a:r>
              <a:rPr lang="el-GR" dirty="0">
                <a:solidFill>
                  <a:schemeClr val="bg1"/>
                </a:solidFill>
              </a:rPr>
              <a:t>Η</a:t>
            </a:r>
            <a:r>
              <a:rPr lang="en-US" dirty="0">
                <a:solidFill>
                  <a:schemeClr val="bg1"/>
                </a:solidFill>
              </a:rPr>
              <a:t>Σ ΚΡ</a:t>
            </a:r>
            <a:r>
              <a:rPr lang="el-GR" dirty="0">
                <a:solidFill>
                  <a:schemeClr val="bg1"/>
                </a:solidFill>
              </a:rPr>
              <a:t>Ι</a:t>
            </a:r>
            <a:r>
              <a:rPr lang="en-US" dirty="0">
                <a:solidFill>
                  <a:schemeClr val="bg1"/>
                </a:solidFill>
              </a:rPr>
              <a:t>ΣΗΣ </a:t>
            </a:r>
          </a:p>
        </p:txBody>
      </p:sp>
      <p:pic>
        <p:nvPicPr>
          <p:cNvPr id="10" name="Picture 9" descr="An iceberg in the water&#10;&#10;Description automatically generated with medium confidence">
            <a:extLst>
              <a:ext uri="{FF2B5EF4-FFF2-40B4-BE49-F238E27FC236}">
                <a16:creationId xmlns:a16="http://schemas.microsoft.com/office/drawing/2014/main" id="{B11F6AE9-20FB-7359-ADDF-EEFDBED98CA4}"/>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832616" y="1774372"/>
            <a:ext cx="3254168" cy="4440656"/>
          </a:xfrm>
          <a:prstGeom prst="rect">
            <a:avLst/>
          </a:prstGeom>
        </p:spPr>
      </p:pic>
    </p:spTree>
    <p:extLst>
      <p:ext uri="{BB962C8B-B14F-4D97-AF65-F5344CB8AC3E}">
        <p14:creationId xmlns:p14="http://schemas.microsoft.com/office/powerpoint/2010/main" val="18540997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877067-4DF6-CAD3-9D51-E733FD7068E0}"/>
              </a:ext>
            </a:extLst>
          </p:cNvPr>
          <p:cNvSpPr/>
          <p:nvPr/>
        </p:nvSpPr>
        <p:spPr>
          <a:xfrm>
            <a:off x="21976" y="9264"/>
            <a:ext cx="395302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ubtitle 2">
            <a:extLst>
              <a:ext uri="{FF2B5EF4-FFF2-40B4-BE49-F238E27FC236}">
                <a16:creationId xmlns:a16="http://schemas.microsoft.com/office/drawing/2014/main" id="{8A4CA383-4C97-AF9C-723E-AC0CB7603B14}"/>
              </a:ext>
            </a:extLst>
          </p:cNvPr>
          <p:cNvSpPr txBox="1">
            <a:spLocks/>
          </p:cNvSpPr>
          <p:nvPr/>
        </p:nvSpPr>
        <p:spPr>
          <a:xfrm>
            <a:off x="152885" y="635920"/>
            <a:ext cx="3572859" cy="629317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sz="2000" dirty="0">
                <a:solidFill>
                  <a:schemeClr val="bg1"/>
                </a:solidFill>
                <a:latin typeface="+mn-lt"/>
                <a:ea typeface="Open Sans Light" panose="020B0306030504020204" pitchFamily="34" charset="0"/>
                <a:cs typeface="Open Sans Light" panose="020B0306030504020204" pitchFamily="34" charset="0"/>
              </a:rPr>
              <a:t>Η αντιμετώπιση μιας οικονομικής ή επιχειρηματικής κρίσης είναι ένα από τα πιο δύσκολα καθήκοντα διαχείρισης.</a:t>
            </a:r>
          </a:p>
          <a:p>
            <a:pPr algn="l">
              <a:lnSpc>
                <a:spcPts val="2240"/>
              </a:lnSpc>
              <a:spcBef>
                <a:spcPts val="0"/>
              </a:spcBef>
            </a:pPr>
            <a:endParaRPr lang="en-GB" sz="2000" dirty="0">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ts val="0"/>
              </a:spcBef>
            </a:pPr>
            <a:r>
              <a:rPr lang="en-GB" sz="2000" dirty="0">
                <a:solidFill>
                  <a:schemeClr val="bg1"/>
                </a:solidFill>
                <a:latin typeface="+mn-lt"/>
                <a:ea typeface="Open Sans Light" panose="020B0306030504020204" pitchFamily="34" charset="0"/>
                <a:cs typeface="Open Sans Light" panose="020B0306030504020204" pitchFamily="34" charset="0"/>
              </a:rPr>
              <a:t>Χωρίς εξωτερική υποστήριξη (π.χ. από επιχειρηματικούς συμβούλους, συμβούλους διαχείρισης, δικηγόρους, εμπειρογνώμονες του κλάδου) είναι συχνά δύσκολα διαχειρίσιμο.  </a:t>
            </a:r>
            <a:r>
              <a:rPr lang="en-GB" sz="2000" b="1" dirty="0">
                <a:solidFill>
                  <a:schemeClr val="bg1"/>
                </a:solidFill>
                <a:latin typeface="+mn-lt"/>
                <a:ea typeface="Open Sans Light" panose="020B0306030504020204" pitchFamily="34" charset="0"/>
                <a:cs typeface="Open Sans Light" panose="020B0306030504020204" pitchFamily="34" charset="0"/>
              </a:rPr>
              <a:t>Δείτε τη μελέτη περίπτωσής μας στη συνέχεια αυτής της ενότητας - η εξωτερική υποστήριξη μπορεί να αλλάξει τα δεδομένα. </a:t>
            </a:r>
          </a:p>
          <a:p>
            <a:pPr algn="l">
              <a:lnSpc>
                <a:spcPts val="2240"/>
              </a:lnSpc>
              <a:spcBef>
                <a:spcPts val="0"/>
              </a:spcBef>
            </a:pPr>
            <a:endParaRPr lang="en-GB" sz="2000" dirty="0">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ts val="0"/>
              </a:spcBef>
            </a:pPr>
            <a:r>
              <a:rPr lang="en-IE" sz="2000" dirty="0">
                <a:solidFill>
                  <a:schemeClr val="bg1"/>
                </a:solidFill>
                <a:latin typeface="+mn-lt"/>
              </a:rPr>
              <a:t>Οι </a:t>
            </a:r>
            <a:r>
              <a:rPr lang="en-IE" sz="2000" b="1" dirty="0">
                <a:solidFill>
                  <a:srgbClr val="EDA13E"/>
                </a:solidFill>
                <a:latin typeface="+mn-lt"/>
              </a:rPr>
              <a:t>4 βασικοί λόγοι </a:t>
            </a:r>
            <a:r>
              <a:rPr lang="en-IE" sz="2000" dirty="0">
                <a:solidFill>
                  <a:schemeClr val="bg1"/>
                </a:solidFill>
                <a:latin typeface="+mn-lt"/>
              </a:rPr>
              <a:t>για τους οποίους μια επιχειρηματική κρίση είναι </a:t>
            </a:r>
            <a:r>
              <a:rPr lang="en-GB" sz="2000" dirty="0">
                <a:solidFill>
                  <a:schemeClr val="bg1"/>
                </a:solidFill>
                <a:latin typeface="+mn-lt"/>
              </a:rPr>
              <a:t>περίπλοκη ..</a:t>
            </a:r>
          </a:p>
          <a:p>
            <a:pPr algn="l">
              <a:lnSpc>
                <a:spcPts val="2240"/>
              </a:lnSpc>
              <a:spcBef>
                <a:spcPts val="0"/>
              </a:spcBef>
            </a:pPr>
            <a:endParaRPr lang="en-GB" sz="2200" dirty="0">
              <a:solidFill>
                <a:schemeClr val="bg1"/>
              </a:solidFill>
              <a:latin typeface="+mn-lt"/>
              <a:ea typeface="Open Sans Light" panose="020B0306030504020204" pitchFamily="34" charset="0"/>
              <a:cs typeface="Open Sans Light" panose="020B0306030504020204" pitchFamily="34" charset="0"/>
            </a:endParaRPr>
          </a:p>
        </p:txBody>
      </p:sp>
      <p:sp>
        <p:nvSpPr>
          <p:cNvPr id="17" name="TextBox 57">
            <a:extLst>
              <a:ext uri="{FF2B5EF4-FFF2-40B4-BE49-F238E27FC236}">
                <a16:creationId xmlns:a16="http://schemas.microsoft.com/office/drawing/2014/main" id="{124DCD05-6E90-5B25-21BC-81AA4F0B3BB9}"/>
              </a:ext>
            </a:extLst>
          </p:cNvPr>
          <p:cNvSpPr txBox="1"/>
          <p:nvPr/>
        </p:nvSpPr>
        <p:spPr>
          <a:xfrm>
            <a:off x="5549067" y="529775"/>
            <a:ext cx="6511554" cy="5355312"/>
          </a:xfrm>
          <a:prstGeom prst="rect">
            <a:avLst/>
          </a:prstGeom>
          <a:noFill/>
        </p:spPr>
        <p:txBody>
          <a:bodyPr wrap="square" rtlCol="0" anchor="t">
            <a:spAutoFit/>
          </a:bodyPr>
          <a:lstStyle/>
          <a:p>
            <a:pPr>
              <a:spcBef>
                <a:spcPts val="675"/>
              </a:spcBef>
            </a:pPr>
            <a:r>
              <a:rPr lang="en-GB" sz="2000" b="1" dirty="0">
                <a:solidFill>
                  <a:srgbClr val="B41F7A"/>
                </a:solidFill>
                <a:cs typeface="Poppins" pitchFamily="2" charset="77"/>
              </a:rPr>
              <a:t>Δεν υπάρχουν σχέδια </a:t>
            </a:r>
            <a:r>
              <a:rPr lang="en-GB" sz="2000" b="1" dirty="0">
                <a:solidFill>
                  <a:srgbClr val="595959"/>
                </a:solidFill>
                <a:cs typeface="Poppins" pitchFamily="2" charset="77"/>
              </a:rPr>
              <a:t>- </a:t>
            </a:r>
            <a:r>
              <a:rPr lang="en-US" sz="2000" dirty="0">
                <a:solidFill>
                  <a:srgbClr val="595959"/>
                </a:solidFill>
                <a:ea typeface="Lato Light" panose="020F0502020204030203" pitchFamily="34" charset="0"/>
                <a:cs typeface="Lato Light" panose="020F0502020204030203" pitchFamily="34" charset="0"/>
              </a:rPr>
              <a:t>Κάθε εταιρεία και κάθε εταιρική κρίση είναι διαφορετική. Δεν υπάρχουν τυποποιημένες λύσεις ή σχέδια. </a:t>
            </a:r>
          </a:p>
          <a:p>
            <a:pPr>
              <a:spcBef>
                <a:spcPts val="675"/>
              </a:spcBef>
            </a:pPr>
            <a:endParaRPr lang="en-US" sz="700" dirty="0">
              <a:solidFill>
                <a:srgbClr val="595959"/>
              </a:solidFill>
              <a:ea typeface="Lato Light" panose="020F0502020204030203" pitchFamily="34" charset="0"/>
              <a:cs typeface="Lato Light" panose="020F0502020204030203" pitchFamily="34" charset="0"/>
            </a:endParaRPr>
          </a:p>
          <a:p>
            <a:pPr>
              <a:spcBef>
                <a:spcPts val="675"/>
              </a:spcBef>
            </a:pPr>
            <a:r>
              <a:rPr lang="en-GB" sz="2000" b="1" dirty="0">
                <a:solidFill>
                  <a:srgbClr val="B41F7A"/>
                </a:solidFill>
                <a:cs typeface="Poppins" pitchFamily="2" charset="77"/>
              </a:rPr>
              <a:t>Πίεση χρόνου </a:t>
            </a:r>
            <a:r>
              <a:rPr lang="en-GB" sz="2000" b="1" dirty="0">
                <a:solidFill>
                  <a:srgbClr val="595959"/>
                </a:solidFill>
                <a:cs typeface="Poppins" pitchFamily="2" charset="77"/>
              </a:rPr>
              <a:t>- Οι </a:t>
            </a:r>
            <a:r>
              <a:rPr lang="en-GB" sz="2000" dirty="0">
                <a:solidFill>
                  <a:srgbClr val="595959"/>
                </a:solidFill>
                <a:ea typeface="Lato Light" panose="020F0502020204030203" pitchFamily="34" charset="0"/>
                <a:cs typeface="Lato Light" panose="020F0502020204030203" pitchFamily="34" charset="0"/>
              </a:rPr>
              <a:t>αποφάσεις επιβίωσης πρέπει να λαμβάνονται υπό μεγάλη πίεση χρόνου. Όσο περισσότερο εξελίσσεται η κρίση, τόσο πιο περιορισμένα είναι τα περιθώρια δράσης και τόσο μεγαλύτερη η πίεση για δράση.</a:t>
            </a:r>
          </a:p>
          <a:p>
            <a:pPr>
              <a:spcBef>
                <a:spcPts val="675"/>
              </a:spcBef>
            </a:pPr>
            <a:endParaRPr lang="en-GB" sz="1000" dirty="0">
              <a:solidFill>
                <a:srgbClr val="595959"/>
              </a:solidFill>
              <a:ea typeface="Lato Light" panose="020F0502020204030203" pitchFamily="34" charset="0"/>
              <a:cs typeface="Lato Light" panose="020F0502020204030203" pitchFamily="34" charset="0"/>
            </a:endParaRPr>
          </a:p>
          <a:p>
            <a:pPr>
              <a:spcBef>
                <a:spcPts val="675"/>
              </a:spcBef>
            </a:pPr>
            <a:r>
              <a:rPr lang="en-GB" sz="2000" b="1" dirty="0">
                <a:solidFill>
                  <a:srgbClr val="B41F7A"/>
                </a:solidFill>
                <a:cs typeface="Poppins" pitchFamily="2" charset="77"/>
              </a:rPr>
              <a:t>Ανεπαρκή δεδομένα </a:t>
            </a:r>
            <a:r>
              <a:rPr lang="en-GB" sz="2000" b="1" dirty="0">
                <a:solidFill>
                  <a:srgbClr val="595959"/>
                </a:solidFill>
                <a:cs typeface="Poppins" pitchFamily="2" charset="77"/>
              </a:rPr>
              <a:t>- </a:t>
            </a:r>
            <a:r>
              <a:rPr lang="en-GB" sz="2000" dirty="0">
                <a:solidFill>
                  <a:srgbClr val="595959"/>
                </a:solidFill>
                <a:ea typeface="Lato Light" panose="020F0502020204030203" pitchFamily="34" charset="0"/>
                <a:cs typeface="Lato Light" panose="020F0502020204030203" pitchFamily="34" charset="0"/>
              </a:rPr>
              <a:t>Τα διαθέσιμα δεδομένα είναι σχεδόν πάντα ανεπαρκή. Η προετοιμασία των πληροφοριών για τη δημιουργία μιας βάσης για τη λήψη αποφάσεων απαιτεί πολύτιμο χρόνο και πόρους.</a:t>
            </a:r>
          </a:p>
          <a:p>
            <a:pPr>
              <a:spcBef>
                <a:spcPts val="675"/>
              </a:spcBef>
            </a:pPr>
            <a:endParaRPr lang="en-GB" sz="1000" dirty="0">
              <a:solidFill>
                <a:srgbClr val="595959"/>
              </a:solidFill>
              <a:ea typeface="Lato Light" panose="020F0502020204030203" pitchFamily="34" charset="0"/>
              <a:cs typeface="Lato Light" panose="020F0502020204030203" pitchFamily="34" charset="0"/>
            </a:endParaRPr>
          </a:p>
          <a:p>
            <a:pPr>
              <a:spcBef>
                <a:spcPts val="675"/>
              </a:spcBef>
            </a:pPr>
            <a:r>
              <a:rPr lang="en-GB" sz="2000" b="1" dirty="0">
                <a:solidFill>
                  <a:srgbClr val="B41F7A"/>
                </a:solidFill>
                <a:cs typeface="Poppins" pitchFamily="2" charset="77"/>
              </a:rPr>
              <a:t>Γνώση </a:t>
            </a:r>
            <a:r>
              <a:rPr lang="en-GB" sz="2000" b="1" dirty="0">
                <a:solidFill>
                  <a:srgbClr val="595959"/>
                </a:solidFill>
                <a:cs typeface="Poppins" pitchFamily="2" charset="77"/>
              </a:rPr>
              <a:t>- Η </a:t>
            </a:r>
            <a:r>
              <a:rPr lang="en-GB" sz="2000" dirty="0">
                <a:solidFill>
                  <a:srgbClr val="595959"/>
                </a:solidFill>
                <a:ea typeface="Lato Light" panose="020F0502020204030203" pitchFamily="34" charset="0"/>
                <a:cs typeface="Lato Light" panose="020F0502020204030203" pitchFamily="34" charset="0"/>
              </a:rPr>
              <a:t>αντιμετώπιση μιας κρίσης απαιτεί υψηλό βαθμό μεθοδολογικής γνώσης, ηγεσίας και επικοινωνίας από τους εμπλεκόμενους.</a:t>
            </a:r>
            <a:endParaRPr lang="en-GB" sz="1400" dirty="0">
              <a:solidFill>
                <a:srgbClr val="595959"/>
              </a:solidFill>
              <a:ea typeface="Lato Light" panose="020F0502020204030203" pitchFamily="34" charset="0"/>
              <a:cs typeface="Lato Light" panose="020F0502020204030203" pitchFamily="34" charset="0"/>
            </a:endParaRPr>
          </a:p>
        </p:txBody>
      </p:sp>
      <p:grpSp>
        <p:nvGrpSpPr>
          <p:cNvPr id="4" name="Group 3">
            <a:extLst>
              <a:ext uri="{FF2B5EF4-FFF2-40B4-BE49-F238E27FC236}">
                <a16:creationId xmlns:a16="http://schemas.microsoft.com/office/drawing/2014/main" id="{41A4C572-EB3E-18A6-055F-EE7F9D67D7AD}"/>
              </a:ext>
            </a:extLst>
          </p:cNvPr>
          <p:cNvGrpSpPr/>
          <p:nvPr/>
        </p:nvGrpSpPr>
        <p:grpSpPr>
          <a:xfrm>
            <a:off x="4354427" y="2104083"/>
            <a:ext cx="923646" cy="923888"/>
            <a:chOff x="10376768" y="3823816"/>
            <a:chExt cx="923646" cy="923888"/>
          </a:xfrm>
          <a:solidFill>
            <a:srgbClr val="595959"/>
          </a:solidFill>
        </p:grpSpPr>
        <p:sp>
          <p:nvSpPr>
            <p:cNvPr id="5" name="Freeform 4">
              <a:extLst>
                <a:ext uri="{FF2B5EF4-FFF2-40B4-BE49-F238E27FC236}">
                  <a16:creationId xmlns:a16="http://schemas.microsoft.com/office/drawing/2014/main" id="{03B8D1AA-8026-53D7-FAFE-73289341C790}"/>
                </a:ext>
              </a:extLst>
            </p:cNvPr>
            <p:cNvSpPr/>
            <p:nvPr/>
          </p:nvSpPr>
          <p:spPr>
            <a:xfrm>
              <a:off x="10872691" y="3846190"/>
              <a:ext cx="417334" cy="527539"/>
            </a:xfrm>
            <a:custGeom>
              <a:avLst/>
              <a:gdLst>
                <a:gd name="connsiteX0" fmla="*/ 386622 w 417334"/>
                <a:gd name="connsiteY0" fmla="*/ 407398 h 527539"/>
                <a:gd name="connsiteX1" fmla="*/ 341456 w 417334"/>
                <a:gd name="connsiteY1" fmla="*/ 388428 h 527539"/>
                <a:gd name="connsiteX2" fmla="*/ 316163 w 417334"/>
                <a:gd name="connsiteY2" fmla="*/ 394752 h 527539"/>
                <a:gd name="connsiteX3" fmla="*/ 280030 w 417334"/>
                <a:gd name="connsiteY3" fmla="*/ 430884 h 527539"/>
                <a:gd name="connsiteX4" fmla="*/ 273707 w 417334"/>
                <a:gd name="connsiteY4" fmla="*/ 456177 h 527539"/>
                <a:gd name="connsiteX5" fmla="*/ 292676 w 417334"/>
                <a:gd name="connsiteY5" fmla="*/ 500440 h 527539"/>
                <a:gd name="connsiteX6" fmla="*/ 227637 w 417334"/>
                <a:gd name="connsiteY6" fmla="*/ 527540 h 527539"/>
                <a:gd name="connsiteX7" fmla="*/ 245704 w 417334"/>
                <a:gd name="connsiteY7" fmla="*/ 431788 h 527539"/>
                <a:gd name="connsiteX8" fmla="*/ 242994 w 417334"/>
                <a:gd name="connsiteY8" fmla="*/ 395655 h 527539"/>
                <a:gd name="connsiteX9" fmla="*/ 302613 w 417334"/>
                <a:gd name="connsiteY9" fmla="*/ 314356 h 527539"/>
                <a:gd name="connsiteX10" fmla="*/ 298096 w 417334"/>
                <a:gd name="connsiteY10" fmla="*/ 203247 h 527539"/>
                <a:gd name="connsiteX11" fmla="*/ 200537 w 417334"/>
                <a:gd name="connsiteY11" fmla="*/ 112012 h 527539"/>
                <a:gd name="connsiteX12" fmla="*/ 183375 w 417334"/>
                <a:gd name="connsiteY12" fmla="*/ 120142 h 527539"/>
                <a:gd name="connsiteX13" fmla="*/ 191504 w 417334"/>
                <a:gd name="connsiteY13" fmla="*/ 137305 h 527539"/>
                <a:gd name="connsiteX14" fmla="*/ 272803 w 417334"/>
                <a:gd name="connsiteY14" fmla="*/ 213184 h 527539"/>
                <a:gd name="connsiteX15" fmla="*/ 236670 w 417334"/>
                <a:gd name="connsiteY15" fmla="*/ 365845 h 527539"/>
                <a:gd name="connsiteX16" fmla="*/ 229444 w 417334"/>
                <a:gd name="connsiteY16" fmla="*/ 342359 h 527539"/>
                <a:gd name="connsiteX17" fmla="*/ 252027 w 417334"/>
                <a:gd name="connsiteY17" fmla="*/ 222217 h 527539"/>
                <a:gd name="connsiteX18" fmla="*/ 105689 w 417334"/>
                <a:gd name="connsiteY18" fmla="*/ 161695 h 527539"/>
                <a:gd name="connsiteX19" fmla="*/ 70460 w 417334"/>
                <a:gd name="connsiteY19" fmla="*/ 185181 h 527539"/>
                <a:gd name="connsiteX20" fmla="*/ 46973 w 417334"/>
                <a:gd name="connsiteY20" fmla="*/ 177954 h 527539"/>
                <a:gd name="connsiteX21" fmla="*/ 97559 w 417334"/>
                <a:gd name="connsiteY21" fmla="*/ 141822 h 527539"/>
                <a:gd name="connsiteX22" fmla="*/ 134595 w 417334"/>
                <a:gd name="connsiteY22" fmla="*/ 132788 h 527539"/>
                <a:gd name="connsiteX23" fmla="*/ 146338 w 417334"/>
                <a:gd name="connsiteY23" fmla="*/ 118335 h 527539"/>
                <a:gd name="connsiteX24" fmla="*/ 131885 w 417334"/>
                <a:gd name="connsiteY24" fmla="*/ 106592 h 527539"/>
                <a:gd name="connsiteX25" fmla="*/ 87622 w 417334"/>
                <a:gd name="connsiteY25" fmla="*/ 118335 h 527539"/>
                <a:gd name="connsiteX26" fmla="*/ 28003 w 417334"/>
                <a:gd name="connsiteY26" fmla="*/ 160791 h 527539"/>
                <a:gd name="connsiteX27" fmla="*/ 28003 w 417334"/>
                <a:gd name="connsiteY27" fmla="*/ 145435 h 527539"/>
                <a:gd name="connsiteX28" fmla="*/ 0 w 417334"/>
                <a:gd name="connsiteY28" fmla="*/ 117432 h 527539"/>
                <a:gd name="connsiteX29" fmla="*/ 18970 w 417334"/>
                <a:gd name="connsiteY29" fmla="*/ 101172 h 527539"/>
                <a:gd name="connsiteX30" fmla="*/ 25293 w 417334"/>
                <a:gd name="connsiteY30" fmla="*/ 75879 h 527539"/>
                <a:gd name="connsiteX31" fmla="*/ 6323 w 417334"/>
                <a:gd name="connsiteY31" fmla="*/ 31616 h 527539"/>
                <a:gd name="connsiteX32" fmla="*/ 82203 w 417334"/>
                <a:gd name="connsiteY32" fmla="*/ 0 h 527539"/>
                <a:gd name="connsiteX33" fmla="*/ 101172 w 417334"/>
                <a:gd name="connsiteY33" fmla="*/ 45166 h 527539"/>
                <a:gd name="connsiteX34" fmla="*/ 123755 w 417334"/>
                <a:gd name="connsiteY34" fmla="*/ 58716 h 527539"/>
                <a:gd name="connsiteX35" fmla="*/ 174341 w 417334"/>
                <a:gd name="connsiteY35" fmla="*/ 58716 h 527539"/>
                <a:gd name="connsiteX36" fmla="*/ 196925 w 417334"/>
                <a:gd name="connsiteY36" fmla="*/ 45166 h 527539"/>
                <a:gd name="connsiteX37" fmla="*/ 215894 w 417334"/>
                <a:gd name="connsiteY37" fmla="*/ 0 h 527539"/>
                <a:gd name="connsiteX38" fmla="*/ 291773 w 417334"/>
                <a:gd name="connsiteY38" fmla="*/ 31616 h 527539"/>
                <a:gd name="connsiteX39" fmla="*/ 272803 w 417334"/>
                <a:gd name="connsiteY39" fmla="*/ 75879 h 527539"/>
                <a:gd name="connsiteX40" fmla="*/ 279127 w 417334"/>
                <a:gd name="connsiteY40" fmla="*/ 101172 h 527539"/>
                <a:gd name="connsiteX41" fmla="*/ 315259 w 417334"/>
                <a:gd name="connsiteY41" fmla="*/ 137305 h 527539"/>
                <a:gd name="connsiteX42" fmla="*/ 340552 w 417334"/>
                <a:gd name="connsiteY42" fmla="*/ 143628 h 527539"/>
                <a:gd name="connsiteX43" fmla="*/ 385718 w 417334"/>
                <a:gd name="connsiteY43" fmla="*/ 124658 h 527539"/>
                <a:gd name="connsiteX44" fmla="*/ 417335 w 417334"/>
                <a:gd name="connsiteY44" fmla="*/ 200537 h 527539"/>
                <a:gd name="connsiteX45" fmla="*/ 372169 w 417334"/>
                <a:gd name="connsiteY45" fmla="*/ 218604 h 527539"/>
                <a:gd name="connsiteX46" fmla="*/ 358619 w 417334"/>
                <a:gd name="connsiteY46" fmla="*/ 241187 h 527539"/>
                <a:gd name="connsiteX47" fmla="*/ 358619 w 417334"/>
                <a:gd name="connsiteY47" fmla="*/ 291773 h 527539"/>
                <a:gd name="connsiteX48" fmla="*/ 372169 w 417334"/>
                <a:gd name="connsiteY48" fmla="*/ 314356 h 527539"/>
                <a:gd name="connsiteX49" fmla="*/ 417335 w 417334"/>
                <a:gd name="connsiteY49" fmla="*/ 333326 h 527539"/>
                <a:gd name="connsiteX50" fmla="*/ 386622 w 417334"/>
                <a:gd name="connsiteY50" fmla="*/ 407398 h 5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17334" h="527539">
                  <a:moveTo>
                    <a:pt x="386622" y="407398"/>
                  </a:moveTo>
                  <a:lnTo>
                    <a:pt x="341456" y="388428"/>
                  </a:lnTo>
                  <a:cubicBezTo>
                    <a:pt x="332423" y="384815"/>
                    <a:pt x="322486" y="387525"/>
                    <a:pt x="316163" y="394752"/>
                  </a:cubicBezTo>
                  <a:cubicBezTo>
                    <a:pt x="305323" y="408301"/>
                    <a:pt x="293579" y="420044"/>
                    <a:pt x="280030" y="430884"/>
                  </a:cubicBezTo>
                  <a:cubicBezTo>
                    <a:pt x="272803" y="437208"/>
                    <a:pt x="269190" y="447144"/>
                    <a:pt x="273707" y="456177"/>
                  </a:cubicBezTo>
                  <a:lnTo>
                    <a:pt x="292676" y="500440"/>
                  </a:lnTo>
                  <a:lnTo>
                    <a:pt x="227637" y="527540"/>
                  </a:lnTo>
                  <a:cubicBezTo>
                    <a:pt x="239380" y="497730"/>
                    <a:pt x="245704" y="465211"/>
                    <a:pt x="245704" y="431788"/>
                  </a:cubicBezTo>
                  <a:cubicBezTo>
                    <a:pt x="245704" y="419141"/>
                    <a:pt x="244800" y="407398"/>
                    <a:pt x="242994" y="395655"/>
                  </a:cubicBezTo>
                  <a:cubicBezTo>
                    <a:pt x="270996" y="375782"/>
                    <a:pt x="291773" y="346876"/>
                    <a:pt x="302613" y="314356"/>
                  </a:cubicBezTo>
                  <a:cubicBezTo>
                    <a:pt x="314356" y="278223"/>
                    <a:pt x="312550" y="238477"/>
                    <a:pt x="298096" y="203247"/>
                  </a:cubicBezTo>
                  <a:cubicBezTo>
                    <a:pt x="280030" y="159888"/>
                    <a:pt x="244800" y="127369"/>
                    <a:pt x="200537" y="112012"/>
                  </a:cubicBezTo>
                  <a:cubicBezTo>
                    <a:pt x="193311" y="109302"/>
                    <a:pt x="186085" y="113819"/>
                    <a:pt x="183375" y="120142"/>
                  </a:cubicBezTo>
                  <a:cubicBezTo>
                    <a:pt x="180664" y="127369"/>
                    <a:pt x="185181" y="134595"/>
                    <a:pt x="191504" y="137305"/>
                  </a:cubicBezTo>
                  <a:cubicBezTo>
                    <a:pt x="228541" y="149952"/>
                    <a:pt x="257447" y="177051"/>
                    <a:pt x="272803" y="213184"/>
                  </a:cubicBezTo>
                  <a:cubicBezTo>
                    <a:pt x="295386" y="267383"/>
                    <a:pt x="280030" y="327906"/>
                    <a:pt x="236670" y="365845"/>
                  </a:cubicBezTo>
                  <a:cubicBezTo>
                    <a:pt x="234864" y="357716"/>
                    <a:pt x="232154" y="349586"/>
                    <a:pt x="229444" y="342359"/>
                  </a:cubicBezTo>
                  <a:cubicBezTo>
                    <a:pt x="260157" y="310743"/>
                    <a:pt x="269190" y="263770"/>
                    <a:pt x="252027" y="222217"/>
                  </a:cubicBezTo>
                  <a:cubicBezTo>
                    <a:pt x="228541" y="165308"/>
                    <a:pt x="162598" y="138208"/>
                    <a:pt x="105689" y="161695"/>
                  </a:cubicBezTo>
                  <a:cubicBezTo>
                    <a:pt x="92139" y="167114"/>
                    <a:pt x="80396" y="175245"/>
                    <a:pt x="70460" y="185181"/>
                  </a:cubicBezTo>
                  <a:cubicBezTo>
                    <a:pt x="62329" y="182471"/>
                    <a:pt x="55103" y="179761"/>
                    <a:pt x="46973" y="177954"/>
                  </a:cubicBezTo>
                  <a:cubicBezTo>
                    <a:pt x="60523" y="162598"/>
                    <a:pt x="77686" y="149952"/>
                    <a:pt x="97559" y="141822"/>
                  </a:cubicBezTo>
                  <a:cubicBezTo>
                    <a:pt x="109302" y="137305"/>
                    <a:pt x="121948" y="133691"/>
                    <a:pt x="134595" y="132788"/>
                  </a:cubicBezTo>
                  <a:cubicBezTo>
                    <a:pt x="141822" y="131885"/>
                    <a:pt x="147242" y="125562"/>
                    <a:pt x="146338" y="118335"/>
                  </a:cubicBezTo>
                  <a:cubicBezTo>
                    <a:pt x="145435" y="111108"/>
                    <a:pt x="139112" y="105689"/>
                    <a:pt x="131885" y="106592"/>
                  </a:cubicBezTo>
                  <a:cubicBezTo>
                    <a:pt x="116529" y="108399"/>
                    <a:pt x="102076" y="112012"/>
                    <a:pt x="87622" y="118335"/>
                  </a:cubicBezTo>
                  <a:cubicBezTo>
                    <a:pt x="64136" y="128272"/>
                    <a:pt x="44263" y="142725"/>
                    <a:pt x="28003" y="160791"/>
                  </a:cubicBezTo>
                  <a:lnTo>
                    <a:pt x="28003" y="145435"/>
                  </a:lnTo>
                  <a:cubicBezTo>
                    <a:pt x="28003" y="130079"/>
                    <a:pt x="15357" y="117432"/>
                    <a:pt x="0" y="117432"/>
                  </a:cubicBezTo>
                  <a:cubicBezTo>
                    <a:pt x="6323" y="112012"/>
                    <a:pt x="11744" y="105689"/>
                    <a:pt x="18970" y="101172"/>
                  </a:cubicBezTo>
                  <a:cubicBezTo>
                    <a:pt x="26197" y="94849"/>
                    <a:pt x="29810" y="84912"/>
                    <a:pt x="25293" y="75879"/>
                  </a:cubicBezTo>
                  <a:lnTo>
                    <a:pt x="6323" y="31616"/>
                  </a:lnTo>
                  <a:lnTo>
                    <a:pt x="82203" y="0"/>
                  </a:lnTo>
                  <a:lnTo>
                    <a:pt x="101172" y="45166"/>
                  </a:lnTo>
                  <a:cubicBezTo>
                    <a:pt x="104786" y="54199"/>
                    <a:pt x="113819" y="59620"/>
                    <a:pt x="123755" y="58716"/>
                  </a:cubicBezTo>
                  <a:cubicBezTo>
                    <a:pt x="140918" y="56909"/>
                    <a:pt x="158081" y="56909"/>
                    <a:pt x="174341" y="58716"/>
                  </a:cubicBezTo>
                  <a:cubicBezTo>
                    <a:pt x="184278" y="59620"/>
                    <a:pt x="193311" y="54199"/>
                    <a:pt x="196925" y="45166"/>
                  </a:cubicBezTo>
                  <a:lnTo>
                    <a:pt x="215894" y="0"/>
                  </a:lnTo>
                  <a:lnTo>
                    <a:pt x="291773" y="31616"/>
                  </a:lnTo>
                  <a:lnTo>
                    <a:pt x="272803" y="75879"/>
                  </a:lnTo>
                  <a:cubicBezTo>
                    <a:pt x="269190" y="84912"/>
                    <a:pt x="271900" y="95752"/>
                    <a:pt x="279127" y="101172"/>
                  </a:cubicBezTo>
                  <a:cubicBezTo>
                    <a:pt x="292676" y="112012"/>
                    <a:pt x="304419" y="123755"/>
                    <a:pt x="315259" y="137305"/>
                  </a:cubicBezTo>
                  <a:cubicBezTo>
                    <a:pt x="321583" y="144531"/>
                    <a:pt x="331519" y="147241"/>
                    <a:pt x="340552" y="143628"/>
                  </a:cubicBezTo>
                  <a:lnTo>
                    <a:pt x="385718" y="124658"/>
                  </a:lnTo>
                  <a:lnTo>
                    <a:pt x="417335" y="200537"/>
                  </a:lnTo>
                  <a:lnTo>
                    <a:pt x="372169" y="218604"/>
                  </a:lnTo>
                  <a:cubicBezTo>
                    <a:pt x="363135" y="222217"/>
                    <a:pt x="357716" y="231251"/>
                    <a:pt x="358619" y="241187"/>
                  </a:cubicBezTo>
                  <a:cubicBezTo>
                    <a:pt x="360425" y="257447"/>
                    <a:pt x="360425" y="274610"/>
                    <a:pt x="358619" y="291773"/>
                  </a:cubicBezTo>
                  <a:cubicBezTo>
                    <a:pt x="357716" y="301710"/>
                    <a:pt x="363135" y="310743"/>
                    <a:pt x="372169" y="314356"/>
                  </a:cubicBezTo>
                  <a:lnTo>
                    <a:pt x="417335" y="333326"/>
                  </a:lnTo>
                  <a:lnTo>
                    <a:pt x="386622" y="407398"/>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7" name="Graphic 2">
              <a:extLst>
                <a:ext uri="{FF2B5EF4-FFF2-40B4-BE49-F238E27FC236}">
                  <a16:creationId xmlns:a16="http://schemas.microsoft.com/office/drawing/2014/main" id="{3DADFA63-2571-D9C0-BA64-F10F499ED171}"/>
                </a:ext>
              </a:extLst>
            </p:cNvPr>
            <p:cNvGrpSpPr/>
            <p:nvPr/>
          </p:nvGrpSpPr>
          <p:grpSpPr>
            <a:xfrm>
              <a:off x="10376768" y="3823816"/>
              <a:ext cx="923646" cy="923888"/>
              <a:chOff x="10376768" y="3823816"/>
              <a:chExt cx="923646" cy="923888"/>
            </a:xfrm>
            <a:grpFill/>
          </p:grpSpPr>
          <p:sp>
            <p:nvSpPr>
              <p:cNvPr id="8" name="Freeform 7">
                <a:extLst>
                  <a:ext uri="{FF2B5EF4-FFF2-40B4-BE49-F238E27FC236}">
                    <a16:creationId xmlns:a16="http://schemas.microsoft.com/office/drawing/2014/main" id="{D55BCD6B-091F-41E7-3813-20494FD7E169}"/>
                  </a:ext>
                </a:extLst>
              </p:cNvPr>
              <p:cNvSpPr/>
              <p:nvPr/>
            </p:nvSpPr>
            <p:spPr>
              <a:xfrm>
                <a:off x="10376768" y="3823816"/>
                <a:ext cx="923646" cy="923888"/>
              </a:xfrm>
              <a:custGeom>
                <a:avLst/>
                <a:gdLst>
                  <a:gd name="connsiteX0" fmla="*/ 908741 w 923646"/>
                  <a:gd name="connsiteY0" fmla="*/ 338536 h 923888"/>
                  <a:gd name="connsiteX1" fmla="*/ 862672 w 923646"/>
                  <a:gd name="connsiteY1" fmla="*/ 319567 h 923888"/>
                  <a:gd name="connsiteX2" fmla="*/ 862672 w 923646"/>
                  <a:gd name="connsiteY2" fmla="*/ 270787 h 923888"/>
                  <a:gd name="connsiteX3" fmla="*/ 908741 w 923646"/>
                  <a:gd name="connsiteY3" fmla="*/ 251818 h 923888"/>
                  <a:gd name="connsiteX4" fmla="*/ 920484 w 923646"/>
                  <a:gd name="connsiteY4" fmla="*/ 240074 h 923888"/>
                  <a:gd name="connsiteX5" fmla="*/ 920484 w 923646"/>
                  <a:gd name="connsiteY5" fmla="*/ 223814 h 923888"/>
                  <a:gd name="connsiteX6" fmla="*/ 885255 w 923646"/>
                  <a:gd name="connsiteY6" fmla="*/ 137999 h 923888"/>
                  <a:gd name="connsiteX7" fmla="*/ 873512 w 923646"/>
                  <a:gd name="connsiteY7" fmla="*/ 126256 h 923888"/>
                  <a:gd name="connsiteX8" fmla="*/ 857252 w 923646"/>
                  <a:gd name="connsiteY8" fmla="*/ 126256 h 923888"/>
                  <a:gd name="connsiteX9" fmla="*/ 811183 w 923646"/>
                  <a:gd name="connsiteY9" fmla="*/ 145226 h 923888"/>
                  <a:gd name="connsiteX10" fmla="*/ 776856 w 923646"/>
                  <a:gd name="connsiteY10" fmla="*/ 110899 h 923888"/>
                  <a:gd name="connsiteX11" fmla="*/ 795826 w 923646"/>
                  <a:gd name="connsiteY11" fmla="*/ 64830 h 923888"/>
                  <a:gd name="connsiteX12" fmla="*/ 795826 w 923646"/>
                  <a:gd name="connsiteY12" fmla="*/ 48570 h 923888"/>
                  <a:gd name="connsiteX13" fmla="*/ 784083 w 923646"/>
                  <a:gd name="connsiteY13" fmla="*/ 36827 h 923888"/>
                  <a:gd name="connsiteX14" fmla="*/ 698267 w 923646"/>
                  <a:gd name="connsiteY14" fmla="*/ 1597 h 923888"/>
                  <a:gd name="connsiteX15" fmla="*/ 669361 w 923646"/>
                  <a:gd name="connsiteY15" fmla="*/ 13340 h 923888"/>
                  <a:gd name="connsiteX16" fmla="*/ 650391 w 923646"/>
                  <a:gd name="connsiteY16" fmla="*/ 59410 h 923888"/>
                  <a:gd name="connsiteX17" fmla="*/ 601612 w 923646"/>
                  <a:gd name="connsiteY17" fmla="*/ 59410 h 923888"/>
                  <a:gd name="connsiteX18" fmla="*/ 582642 w 923646"/>
                  <a:gd name="connsiteY18" fmla="*/ 13340 h 923888"/>
                  <a:gd name="connsiteX19" fmla="*/ 554639 w 923646"/>
                  <a:gd name="connsiteY19" fmla="*/ 1597 h 923888"/>
                  <a:gd name="connsiteX20" fmla="*/ 468824 w 923646"/>
                  <a:gd name="connsiteY20" fmla="*/ 36827 h 923888"/>
                  <a:gd name="connsiteX21" fmla="*/ 457080 w 923646"/>
                  <a:gd name="connsiteY21" fmla="*/ 48570 h 923888"/>
                  <a:gd name="connsiteX22" fmla="*/ 457080 w 923646"/>
                  <a:gd name="connsiteY22" fmla="*/ 64830 h 923888"/>
                  <a:gd name="connsiteX23" fmla="*/ 476051 w 923646"/>
                  <a:gd name="connsiteY23" fmla="*/ 110899 h 923888"/>
                  <a:gd name="connsiteX24" fmla="*/ 441724 w 923646"/>
                  <a:gd name="connsiteY24" fmla="*/ 145226 h 923888"/>
                  <a:gd name="connsiteX25" fmla="*/ 395655 w 923646"/>
                  <a:gd name="connsiteY25" fmla="*/ 126256 h 923888"/>
                  <a:gd name="connsiteX26" fmla="*/ 379395 w 923646"/>
                  <a:gd name="connsiteY26" fmla="*/ 126256 h 923888"/>
                  <a:gd name="connsiteX27" fmla="*/ 367652 w 923646"/>
                  <a:gd name="connsiteY27" fmla="*/ 137999 h 923888"/>
                  <a:gd name="connsiteX28" fmla="*/ 325196 w 923646"/>
                  <a:gd name="connsiteY28" fmla="*/ 239171 h 923888"/>
                  <a:gd name="connsiteX29" fmla="*/ 277320 w 923646"/>
                  <a:gd name="connsiteY29" fmla="*/ 276207 h 923888"/>
                  <a:gd name="connsiteX30" fmla="*/ 206860 w 923646"/>
                  <a:gd name="connsiteY30" fmla="*/ 403575 h 923888"/>
                  <a:gd name="connsiteX31" fmla="*/ 186084 w 923646"/>
                  <a:gd name="connsiteY31" fmla="*/ 413512 h 923888"/>
                  <a:gd name="connsiteX32" fmla="*/ 150855 w 923646"/>
                  <a:gd name="connsiteY32" fmla="*/ 378283 h 923888"/>
                  <a:gd name="connsiteX33" fmla="*/ 135498 w 923646"/>
                  <a:gd name="connsiteY33" fmla="*/ 371959 h 923888"/>
                  <a:gd name="connsiteX34" fmla="*/ 120142 w 923646"/>
                  <a:gd name="connsiteY34" fmla="*/ 378283 h 923888"/>
                  <a:gd name="connsiteX35" fmla="*/ 55102 w 923646"/>
                  <a:gd name="connsiteY35" fmla="*/ 444225 h 923888"/>
                  <a:gd name="connsiteX36" fmla="*/ 55102 w 923646"/>
                  <a:gd name="connsiteY36" fmla="*/ 474938 h 923888"/>
                  <a:gd name="connsiteX37" fmla="*/ 90332 w 923646"/>
                  <a:gd name="connsiteY37" fmla="*/ 510167 h 923888"/>
                  <a:gd name="connsiteX38" fmla="*/ 71362 w 923646"/>
                  <a:gd name="connsiteY38" fmla="*/ 555333 h 923888"/>
                  <a:gd name="connsiteX39" fmla="*/ 21679 w 923646"/>
                  <a:gd name="connsiteY39" fmla="*/ 555333 h 923888"/>
                  <a:gd name="connsiteX40" fmla="*/ 0 w 923646"/>
                  <a:gd name="connsiteY40" fmla="*/ 577013 h 923888"/>
                  <a:gd name="connsiteX41" fmla="*/ 0 w 923646"/>
                  <a:gd name="connsiteY41" fmla="*/ 670055 h 923888"/>
                  <a:gd name="connsiteX42" fmla="*/ 21679 w 923646"/>
                  <a:gd name="connsiteY42" fmla="*/ 691735 h 923888"/>
                  <a:gd name="connsiteX43" fmla="*/ 71362 w 923646"/>
                  <a:gd name="connsiteY43" fmla="*/ 691735 h 923888"/>
                  <a:gd name="connsiteX44" fmla="*/ 90332 w 923646"/>
                  <a:gd name="connsiteY44" fmla="*/ 736901 h 923888"/>
                  <a:gd name="connsiteX45" fmla="*/ 55102 w 923646"/>
                  <a:gd name="connsiteY45" fmla="*/ 772131 h 923888"/>
                  <a:gd name="connsiteX46" fmla="*/ 55102 w 923646"/>
                  <a:gd name="connsiteY46" fmla="*/ 802844 h 923888"/>
                  <a:gd name="connsiteX47" fmla="*/ 120142 w 923646"/>
                  <a:gd name="connsiteY47" fmla="*/ 868786 h 923888"/>
                  <a:gd name="connsiteX48" fmla="*/ 135498 w 923646"/>
                  <a:gd name="connsiteY48" fmla="*/ 875109 h 923888"/>
                  <a:gd name="connsiteX49" fmla="*/ 150855 w 923646"/>
                  <a:gd name="connsiteY49" fmla="*/ 868786 h 923888"/>
                  <a:gd name="connsiteX50" fmla="*/ 186084 w 923646"/>
                  <a:gd name="connsiteY50" fmla="*/ 833556 h 923888"/>
                  <a:gd name="connsiteX51" fmla="*/ 231250 w 923646"/>
                  <a:gd name="connsiteY51" fmla="*/ 852526 h 923888"/>
                  <a:gd name="connsiteX52" fmla="*/ 231250 w 923646"/>
                  <a:gd name="connsiteY52" fmla="*/ 902209 h 923888"/>
                  <a:gd name="connsiteX53" fmla="*/ 252930 w 923646"/>
                  <a:gd name="connsiteY53" fmla="*/ 923888 h 923888"/>
                  <a:gd name="connsiteX54" fmla="*/ 345069 w 923646"/>
                  <a:gd name="connsiteY54" fmla="*/ 923888 h 923888"/>
                  <a:gd name="connsiteX55" fmla="*/ 366748 w 923646"/>
                  <a:gd name="connsiteY55" fmla="*/ 902209 h 923888"/>
                  <a:gd name="connsiteX56" fmla="*/ 366748 w 923646"/>
                  <a:gd name="connsiteY56" fmla="*/ 852526 h 923888"/>
                  <a:gd name="connsiteX57" fmla="*/ 411914 w 923646"/>
                  <a:gd name="connsiteY57" fmla="*/ 833556 h 923888"/>
                  <a:gd name="connsiteX58" fmla="*/ 447144 w 923646"/>
                  <a:gd name="connsiteY58" fmla="*/ 868786 h 923888"/>
                  <a:gd name="connsiteX59" fmla="*/ 462501 w 923646"/>
                  <a:gd name="connsiteY59" fmla="*/ 875109 h 923888"/>
                  <a:gd name="connsiteX60" fmla="*/ 477857 w 923646"/>
                  <a:gd name="connsiteY60" fmla="*/ 868786 h 923888"/>
                  <a:gd name="connsiteX61" fmla="*/ 542896 w 923646"/>
                  <a:gd name="connsiteY61" fmla="*/ 802844 h 923888"/>
                  <a:gd name="connsiteX62" fmla="*/ 542896 w 923646"/>
                  <a:gd name="connsiteY62" fmla="*/ 772131 h 923888"/>
                  <a:gd name="connsiteX63" fmla="*/ 507667 w 923646"/>
                  <a:gd name="connsiteY63" fmla="*/ 736901 h 923888"/>
                  <a:gd name="connsiteX64" fmla="*/ 517603 w 923646"/>
                  <a:gd name="connsiteY64" fmla="*/ 717028 h 923888"/>
                  <a:gd name="connsiteX65" fmla="*/ 600709 w 923646"/>
                  <a:gd name="connsiteY65" fmla="*/ 683605 h 923888"/>
                  <a:gd name="connsiteX66" fmla="*/ 605225 w 923646"/>
                  <a:gd name="connsiteY66" fmla="*/ 664636 h 923888"/>
                  <a:gd name="connsiteX67" fmla="*/ 586255 w 923646"/>
                  <a:gd name="connsiteY67" fmla="*/ 660119 h 923888"/>
                  <a:gd name="connsiteX68" fmla="*/ 461597 w 923646"/>
                  <a:gd name="connsiteY68" fmla="*/ 695348 h 923888"/>
                  <a:gd name="connsiteX69" fmla="*/ 227637 w 923646"/>
                  <a:gd name="connsiteY69" fmla="*/ 460485 h 923888"/>
                  <a:gd name="connsiteX70" fmla="*/ 297192 w 923646"/>
                  <a:gd name="connsiteY70" fmla="*/ 295177 h 923888"/>
                  <a:gd name="connsiteX71" fmla="*/ 462501 w 923646"/>
                  <a:gd name="connsiteY71" fmla="*/ 227428 h 923888"/>
                  <a:gd name="connsiteX72" fmla="*/ 463404 w 923646"/>
                  <a:gd name="connsiteY72" fmla="*/ 227428 h 923888"/>
                  <a:gd name="connsiteX73" fmla="*/ 697364 w 923646"/>
                  <a:gd name="connsiteY73" fmla="*/ 462291 h 923888"/>
                  <a:gd name="connsiteX74" fmla="*/ 633228 w 923646"/>
                  <a:gd name="connsiteY74" fmla="*/ 622179 h 923888"/>
                  <a:gd name="connsiteX75" fmla="*/ 634132 w 923646"/>
                  <a:gd name="connsiteY75" fmla="*/ 641149 h 923888"/>
                  <a:gd name="connsiteX76" fmla="*/ 653101 w 923646"/>
                  <a:gd name="connsiteY76" fmla="*/ 640246 h 923888"/>
                  <a:gd name="connsiteX77" fmla="*/ 688331 w 923646"/>
                  <a:gd name="connsiteY77" fmla="*/ 593273 h 923888"/>
                  <a:gd name="connsiteX78" fmla="*/ 785890 w 923646"/>
                  <a:gd name="connsiteY78" fmla="*/ 553527 h 923888"/>
                  <a:gd name="connsiteX79" fmla="*/ 797633 w 923646"/>
                  <a:gd name="connsiteY79" fmla="*/ 541784 h 923888"/>
                  <a:gd name="connsiteX80" fmla="*/ 797633 w 923646"/>
                  <a:gd name="connsiteY80" fmla="*/ 525524 h 923888"/>
                  <a:gd name="connsiteX81" fmla="*/ 778663 w 923646"/>
                  <a:gd name="connsiteY81" fmla="*/ 479455 h 923888"/>
                  <a:gd name="connsiteX82" fmla="*/ 812989 w 923646"/>
                  <a:gd name="connsiteY82" fmla="*/ 445128 h 923888"/>
                  <a:gd name="connsiteX83" fmla="*/ 859059 w 923646"/>
                  <a:gd name="connsiteY83" fmla="*/ 464098 h 923888"/>
                  <a:gd name="connsiteX84" fmla="*/ 875318 w 923646"/>
                  <a:gd name="connsiteY84" fmla="*/ 464098 h 923888"/>
                  <a:gd name="connsiteX85" fmla="*/ 887062 w 923646"/>
                  <a:gd name="connsiteY85" fmla="*/ 452355 h 923888"/>
                  <a:gd name="connsiteX86" fmla="*/ 922291 w 923646"/>
                  <a:gd name="connsiteY86" fmla="*/ 366539 h 923888"/>
                  <a:gd name="connsiteX87" fmla="*/ 922291 w 923646"/>
                  <a:gd name="connsiteY87" fmla="*/ 350279 h 923888"/>
                  <a:gd name="connsiteX88" fmla="*/ 908741 w 923646"/>
                  <a:gd name="connsiteY88" fmla="*/ 338536 h 923888"/>
                  <a:gd name="connsiteX89" fmla="*/ 908741 w 923646"/>
                  <a:gd name="connsiteY89" fmla="*/ 338536 h 923888"/>
                  <a:gd name="connsiteX90" fmla="*/ 404688 w 923646"/>
                  <a:gd name="connsiteY90" fmla="*/ 717028 h 923888"/>
                  <a:gd name="connsiteX91" fmla="*/ 295386 w 923646"/>
                  <a:gd name="connsiteY91" fmla="*/ 767614 h 923888"/>
                  <a:gd name="connsiteX92" fmla="*/ 151758 w 923646"/>
                  <a:gd name="connsiteY92" fmla="*/ 623986 h 923888"/>
                  <a:gd name="connsiteX93" fmla="*/ 202344 w 923646"/>
                  <a:gd name="connsiteY93" fmla="*/ 514684 h 923888"/>
                  <a:gd name="connsiteX94" fmla="*/ 208667 w 923646"/>
                  <a:gd name="connsiteY94" fmla="*/ 539074 h 923888"/>
                  <a:gd name="connsiteX95" fmla="*/ 174341 w 923646"/>
                  <a:gd name="connsiteY95" fmla="*/ 623986 h 923888"/>
                  <a:gd name="connsiteX96" fmla="*/ 295386 w 923646"/>
                  <a:gd name="connsiteY96" fmla="*/ 745935 h 923888"/>
                  <a:gd name="connsiteX97" fmla="*/ 380298 w 923646"/>
                  <a:gd name="connsiteY97" fmla="*/ 711608 h 923888"/>
                  <a:gd name="connsiteX98" fmla="*/ 404688 w 923646"/>
                  <a:gd name="connsiteY98" fmla="*/ 717028 h 923888"/>
                  <a:gd name="connsiteX99" fmla="*/ 404688 w 923646"/>
                  <a:gd name="connsiteY99" fmla="*/ 717028 h 923888"/>
                  <a:gd name="connsiteX100" fmla="*/ 459790 w 923646"/>
                  <a:gd name="connsiteY100" fmla="*/ 723351 h 923888"/>
                  <a:gd name="connsiteX101" fmla="*/ 482373 w 923646"/>
                  <a:gd name="connsiteY101" fmla="*/ 722448 h 923888"/>
                  <a:gd name="connsiteX102" fmla="*/ 479663 w 923646"/>
                  <a:gd name="connsiteY102" fmla="*/ 727868 h 923888"/>
                  <a:gd name="connsiteX103" fmla="*/ 483277 w 923646"/>
                  <a:gd name="connsiteY103" fmla="*/ 754064 h 923888"/>
                  <a:gd name="connsiteX104" fmla="*/ 517603 w 923646"/>
                  <a:gd name="connsiteY104" fmla="*/ 788390 h 923888"/>
                  <a:gd name="connsiteX105" fmla="*/ 459790 w 923646"/>
                  <a:gd name="connsiteY105" fmla="*/ 846203 h 923888"/>
                  <a:gd name="connsiteX106" fmla="*/ 425464 w 923646"/>
                  <a:gd name="connsiteY106" fmla="*/ 811877 h 923888"/>
                  <a:gd name="connsiteX107" fmla="*/ 399268 w 923646"/>
                  <a:gd name="connsiteY107" fmla="*/ 808263 h 923888"/>
                  <a:gd name="connsiteX108" fmla="*/ 352295 w 923646"/>
                  <a:gd name="connsiteY108" fmla="*/ 827233 h 923888"/>
                  <a:gd name="connsiteX109" fmla="*/ 336036 w 923646"/>
                  <a:gd name="connsiteY109" fmla="*/ 848010 h 923888"/>
                  <a:gd name="connsiteX110" fmla="*/ 336036 w 923646"/>
                  <a:gd name="connsiteY110" fmla="*/ 896789 h 923888"/>
                  <a:gd name="connsiteX111" fmla="*/ 254737 w 923646"/>
                  <a:gd name="connsiteY111" fmla="*/ 896789 h 923888"/>
                  <a:gd name="connsiteX112" fmla="*/ 254737 w 923646"/>
                  <a:gd name="connsiteY112" fmla="*/ 848010 h 923888"/>
                  <a:gd name="connsiteX113" fmla="*/ 238477 w 923646"/>
                  <a:gd name="connsiteY113" fmla="*/ 827233 h 923888"/>
                  <a:gd name="connsiteX114" fmla="*/ 191504 w 923646"/>
                  <a:gd name="connsiteY114" fmla="*/ 808263 h 923888"/>
                  <a:gd name="connsiteX115" fmla="*/ 165308 w 923646"/>
                  <a:gd name="connsiteY115" fmla="*/ 811877 h 923888"/>
                  <a:gd name="connsiteX116" fmla="*/ 130982 w 923646"/>
                  <a:gd name="connsiteY116" fmla="*/ 846203 h 923888"/>
                  <a:gd name="connsiteX117" fmla="*/ 73169 w 923646"/>
                  <a:gd name="connsiteY117" fmla="*/ 788390 h 923888"/>
                  <a:gd name="connsiteX118" fmla="*/ 107495 w 923646"/>
                  <a:gd name="connsiteY118" fmla="*/ 754064 h 923888"/>
                  <a:gd name="connsiteX119" fmla="*/ 111108 w 923646"/>
                  <a:gd name="connsiteY119" fmla="*/ 727868 h 923888"/>
                  <a:gd name="connsiteX120" fmla="*/ 92139 w 923646"/>
                  <a:gd name="connsiteY120" fmla="*/ 680895 h 923888"/>
                  <a:gd name="connsiteX121" fmla="*/ 71362 w 923646"/>
                  <a:gd name="connsiteY121" fmla="*/ 664636 h 923888"/>
                  <a:gd name="connsiteX122" fmla="*/ 22583 w 923646"/>
                  <a:gd name="connsiteY122" fmla="*/ 664636 h 923888"/>
                  <a:gd name="connsiteX123" fmla="*/ 22583 w 923646"/>
                  <a:gd name="connsiteY123" fmla="*/ 582433 h 923888"/>
                  <a:gd name="connsiteX124" fmla="*/ 71362 w 923646"/>
                  <a:gd name="connsiteY124" fmla="*/ 582433 h 923888"/>
                  <a:gd name="connsiteX125" fmla="*/ 92139 w 923646"/>
                  <a:gd name="connsiteY125" fmla="*/ 566173 h 923888"/>
                  <a:gd name="connsiteX126" fmla="*/ 111108 w 923646"/>
                  <a:gd name="connsiteY126" fmla="*/ 519200 h 923888"/>
                  <a:gd name="connsiteX127" fmla="*/ 107495 w 923646"/>
                  <a:gd name="connsiteY127" fmla="*/ 493005 h 923888"/>
                  <a:gd name="connsiteX128" fmla="*/ 73169 w 923646"/>
                  <a:gd name="connsiteY128" fmla="*/ 458678 h 923888"/>
                  <a:gd name="connsiteX129" fmla="*/ 130982 w 923646"/>
                  <a:gd name="connsiteY129" fmla="*/ 400866 h 923888"/>
                  <a:gd name="connsiteX130" fmla="*/ 165308 w 923646"/>
                  <a:gd name="connsiteY130" fmla="*/ 435192 h 923888"/>
                  <a:gd name="connsiteX131" fmla="*/ 191504 w 923646"/>
                  <a:gd name="connsiteY131" fmla="*/ 438805 h 923888"/>
                  <a:gd name="connsiteX132" fmla="*/ 197827 w 923646"/>
                  <a:gd name="connsiteY132" fmla="*/ 435192 h 923888"/>
                  <a:gd name="connsiteX133" fmla="*/ 196924 w 923646"/>
                  <a:gd name="connsiteY133" fmla="*/ 459581 h 923888"/>
                  <a:gd name="connsiteX134" fmla="*/ 197827 w 923646"/>
                  <a:gd name="connsiteY134" fmla="*/ 482165 h 923888"/>
                  <a:gd name="connsiteX135" fmla="*/ 124658 w 923646"/>
                  <a:gd name="connsiteY135" fmla="*/ 622179 h 923888"/>
                  <a:gd name="connsiteX136" fmla="*/ 295386 w 923646"/>
                  <a:gd name="connsiteY136" fmla="*/ 792907 h 923888"/>
                  <a:gd name="connsiteX137" fmla="*/ 434497 w 923646"/>
                  <a:gd name="connsiteY137" fmla="*/ 719738 h 923888"/>
                  <a:gd name="connsiteX138" fmla="*/ 459790 w 923646"/>
                  <a:gd name="connsiteY138" fmla="*/ 723351 h 923888"/>
                  <a:gd name="connsiteX139" fmla="*/ 459790 w 923646"/>
                  <a:gd name="connsiteY139" fmla="*/ 723351 h 923888"/>
                  <a:gd name="connsiteX140" fmla="*/ 459790 w 923646"/>
                  <a:gd name="connsiteY140" fmla="*/ 723351 h 923888"/>
                  <a:gd name="connsiteX141" fmla="*/ 352295 w 923646"/>
                  <a:gd name="connsiteY141" fmla="*/ 699865 h 923888"/>
                  <a:gd name="connsiteX142" fmla="*/ 296289 w 923646"/>
                  <a:gd name="connsiteY142" fmla="*/ 717931 h 923888"/>
                  <a:gd name="connsiteX143" fmla="*/ 202344 w 923646"/>
                  <a:gd name="connsiteY143" fmla="*/ 623082 h 923888"/>
                  <a:gd name="connsiteX144" fmla="*/ 221314 w 923646"/>
                  <a:gd name="connsiteY144" fmla="*/ 567076 h 923888"/>
                  <a:gd name="connsiteX145" fmla="*/ 352295 w 923646"/>
                  <a:gd name="connsiteY145" fmla="*/ 699865 h 923888"/>
                  <a:gd name="connsiteX146" fmla="*/ 387525 w 923646"/>
                  <a:gd name="connsiteY146" fmla="*/ 153355 h 923888"/>
                  <a:gd name="connsiteX147" fmla="*/ 406495 w 923646"/>
                  <a:gd name="connsiteY147" fmla="*/ 160582 h 923888"/>
                  <a:gd name="connsiteX148" fmla="*/ 402881 w 923646"/>
                  <a:gd name="connsiteY148" fmla="*/ 173228 h 923888"/>
                  <a:gd name="connsiteX149" fmla="*/ 402881 w 923646"/>
                  <a:gd name="connsiteY149" fmla="*/ 205748 h 923888"/>
                  <a:gd name="connsiteX150" fmla="*/ 359522 w 923646"/>
                  <a:gd name="connsiteY150" fmla="*/ 219298 h 923888"/>
                  <a:gd name="connsiteX151" fmla="*/ 387525 w 923646"/>
                  <a:gd name="connsiteY151" fmla="*/ 153355 h 923888"/>
                  <a:gd name="connsiteX152" fmla="*/ 458887 w 923646"/>
                  <a:gd name="connsiteY152" fmla="*/ 200328 h 923888"/>
                  <a:gd name="connsiteX153" fmla="*/ 429981 w 923646"/>
                  <a:gd name="connsiteY153" fmla="*/ 202135 h 923888"/>
                  <a:gd name="connsiteX154" fmla="*/ 429981 w 923646"/>
                  <a:gd name="connsiteY154" fmla="*/ 173228 h 923888"/>
                  <a:gd name="connsiteX155" fmla="*/ 430884 w 923646"/>
                  <a:gd name="connsiteY155" fmla="*/ 172325 h 923888"/>
                  <a:gd name="connsiteX156" fmla="*/ 475147 w 923646"/>
                  <a:gd name="connsiteY156" fmla="*/ 172325 h 923888"/>
                  <a:gd name="connsiteX157" fmla="*/ 476051 w 923646"/>
                  <a:gd name="connsiteY157" fmla="*/ 173228 h 923888"/>
                  <a:gd name="connsiteX158" fmla="*/ 476051 w 923646"/>
                  <a:gd name="connsiteY158" fmla="*/ 200328 h 923888"/>
                  <a:gd name="connsiteX159" fmla="*/ 458887 w 923646"/>
                  <a:gd name="connsiteY159" fmla="*/ 200328 h 923888"/>
                  <a:gd name="connsiteX160" fmla="*/ 458887 w 923646"/>
                  <a:gd name="connsiteY160" fmla="*/ 200328 h 923888"/>
                  <a:gd name="connsiteX161" fmla="*/ 574512 w 923646"/>
                  <a:gd name="connsiteY161" fmla="*/ 226525 h 923888"/>
                  <a:gd name="connsiteX162" fmla="*/ 592579 w 923646"/>
                  <a:gd name="connsiteY162" fmla="*/ 216588 h 923888"/>
                  <a:gd name="connsiteX163" fmla="*/ 703687 w 923646"/>
                  <a:gd name="connsiteY163" fmla="*/ 262658 h 923888"/>
                  <a:gd name="connsiteX164" fmla="*/ 693751 w 923646"/>
                  <a:gd name="connsiteY164" fmla="*/ 344860 h 923888"/>
                  <a:gd name="connsiteX165" fmla="*/ 574512 w 923646"/>
                  <a:gd name="connsiteY165" fmla="*/ 226525 h 923888"/>
                  <a:gd name="connsiteX166" fmla="*/ 574512 w 923646"/>
                  <a:gd name="connsiteY166" fmla="*/ 226525 h 923888"/>
                  <a:gd name="connsiteX167" fmla="*/ 861768 w 923646"/>
                  <a:gd name="connsiteY167" fmla="*/ 436998 h 923888"/>
                  <a:gd name="connsiteX168" fmla="*/ 816602 w 923646"/>
                  <a:gd name="connsiteY168" fmla="*/ 418028 h 923888"/>
                  <a:gd name="connsiteX169" fmla="*/ 791309 w 923646"/>
                  <a:gd name="connsiteY169" fmla="*/ 424352 h 923888"/>
                  <a:gd name="connsiteX170" fmla="*/ 755177 w 923646"/>
                  <a:gd name="connsiteY170" fmla="*/ 460485 h 923888"/>
                  <a:gd name="connsiteX171" fmla="*/ 748853 w 923646"/>
                  <a:gd name="connsiteY171" fmla="*/ 485777 h 923888"/>
                  <a:gd name="connsiteX172" fmla="*/ 767823 w 923646"/>
                  <a:gd name="connsiteY172" fmla="*/ 530040 h 923888"/>
                  <a:gd name="connsiteX173" fmla="*/ 702784 w 923646"/>
                  <a:gd name="connsiteY173" fmla="*/ 557140 h 923888"/>
                  <a:gd name="connsiteX174" fmla="*/ 720850 w 923646"/>
                  <a:gd name="connsiteY174" fmla="*/ 461388 h 923888"/>
                  <a:gd name="connsiteX175" fmla="*/ 718141 w 923646"/>
                  <a:gd name="connsiteY175" fmla="*/ 425255 h 923888"/>
                  <a:gd name="connsiteX176" fmla="*/ 777760 w 923646"/>
                  <a:gd name="connsiteY176" fmla="*/ 343956 h 923888"/>
                  <a:gd name="connsiteX177" fmla="*/ 773243 w 923646"/>
                  <a:gd name="connsiteY177" fmla="*/ 232847 h 923888"/>
                  <a:gd name="connsiteX178" fmla="*/ 675684 w 923646"/>
                  <a:gd name="connsiteY178" fmla="*/ 141612 h 923888"/>
                  <a:gd name="connsiteX179" fmla="*/ 658521 w 923646"/>
                  <a:gd name="connsiteY179" fmla="*/ 149742 h 923888"/>
                  <a:gd name="connsiteX180" fmla="*/ 666651 w 923646"/>
                  <a:gd name="connsiteY180" fmla="*/ 166905 h 923888"/>
                  <a:gd name="connsiteX181" fmla="*/ 747950 w 923646"/>
                  <a:gd name="connsiteY181" fmla="*/ 242784 h 923888"/>
                  <a:gd name="connsiteX182" fmla="*/ 711817 w 923646"/>
                  <a:gd name="connsiteY182" fmla="*/ 395445 h 923888"/>
                  <a:gd name="connsiteX183" fmla="*/ 704591 w 923646"/>
                  <a:gd name="connsiteY183" fmla="*/ 371959 h 923888"/>
                  <a:gd name="connsiteX184" fmla="*/ 727174 w 923646"/>
                  <a:gd name="connsiteY184" fmla="*/ 251818 h 923888"/>
                  <a:gd name="connsiteX185" fmla="*/ 580836 w 923646"/>
                  <a:gd name="connsiteY185" fmla="*/ 191295 h 923888"/>
                  <a:gd name="connsiteX186" fmla="*/ 545606 w 923646"/>
                  <a:gd name="connsiteY186" fmla="*/ 214781 h 923888"/>
                  <a:gd name="connsiteX187" fmla="*/ 522120 w 923646"/>
                  <a:gd name="connsiteY187" fmla="*/ 207555 h 923888"/>
                  <a:gd name="connsiteX188" fmla="*/ 572706 w 923646"/>
                  <a:gd name="connsiteY188" fmla="*/ 171422 h 923888"/>
                  <a:gd name="connsiteX189" fmla="*/ 609742 w 923646"/>
                  <a:gd name="connsiteY189" fmla="*/ 162389 h 923888"/>
                  <a:gd name="connsiteX190" fmla="*/ 621485 w 923646"/>
                  <a:gd name="connsiteY190" fmla="*/ 147936 h 923888"/>
                  <a:gd name="connsiteX191" fmla="*/ 607032 w 923646"/>
                  <a:gd name="connsiteY191" fmla="*/ 136193 h 923888"/>
                  <a:gd name="connsiteX192" fmla="*/ 562769 w 923646"/>
                  <a:gd name="connsiteY192" fmla="*/ 147936 h 923888"/>
                  <a:gd name="connsiteX193" fmla="*/ 503150 w 923646"/>
                  <a:gd name="connsiteY193" fmla="*/ 190392 h 923888"/>
                  <a:gd name="connsiteX194" fmla="*/ 503150 w 923646"/>
                  <a:gd name="connsiteY194" fmla="*/ 173228 h 923888"/>
                  <a:gd name="connsiteX195" fmla="*/ 475147 w 923646"/>
                  <a:gd name="connsiteY195" fmla="*/ 145226 h 923888"/>
                  <a:gd name="connsiteX196" fmla="*/ 494117 w 923646"/>
                  <a:gd name="connsiteY196" fmla="*/ 128966 h 923888"/>
                  <a:gd name="connsiteX197" fmla="*/ 500440 w 923646"/>
                  <a:gd name="connsiteY197" fmla="*/ 103673 h 923888"/>
                  <a:gd name="connsiteX198" fmla="*/ 481470 w 923646"/>
                  <a:gd name="connsiteY198" fmla="*/ 59410 h 923888"/>
                  <a:gd name="connsiteX199" fmla="*/ 557349 w 923646"/>
                  <a:gd name="connsiteY199" fmla="*/ 27794 h 923888"/>
                  <a:gd name="connsiteX200" fmla="*/ 576319 w 923646"/>
                  <a:gd name="connsiteY200" fmla="*/ 72960 h 923888"/>
                  <a:gd name="connsiteX201" fmla="*/ 598902 w 923646"/>
                  <a:gd name="connsiteY201" fmla="*/ 86510 h 923888"/>
                  <a:gd name="connsiteX202" fmla="*/ 649488 w 923646"/>
                  <a:gd name="connsiteY202" fmla="*/ 86510 h 923888"/>
                  <a:gd name="connsiteX203" fmla="*/ 672071 w 923646"/>
                  <a:gd name="connsiteY203" fmla="*/ 72960 h 923888"/>
                  <a:gd name="connsiteX204" fmla="*/ 691041 w 923646"/>
                  <a:gd name="connsiteY204" fmla="*/ 27794 h 923888"/>
                  <a:gd name="connsiteX205" fmla="*/ 766920 w 923646"/>
                  <a:gd name="connsiteY205" fmla="*/ 59410 h 923888"/>
                  <a:gd name="connsiteX206" fmla="*/ 747950 w 923646"/>
                  <a:gd name="connsiteY206" fmla="*/ 103673 h 923888"/>
                  <a:gd name="connsiteX207" fmla="*/ 754273 w 923646"/>
                  <a:gd name="connsiteY207" fmla="*/ 128966 h 923888"/>
                  <a:gd name="connsiteX208" fmla="*/ 790406 w 923646"/>
                  <a:gd name="connsiteY208" fmla="*/ 165098 h 923888"/>
                  <a:gd name="connsiteX209" fmla="*/ 815699 w 923646"/>
                  <a:gd name="connsiteY209" fmla="*/ 171422 h 923888"/>
                  <a:gd name="connsiteX210" fmla="*/ 860865 w 923646"/>
                  <a:gd name="connsiteY210" fmla="*/ 152452 h 923888"/>
                  <a:gd name="connsiteX211" fmla="*/ 892482 w 923646"/>
                  <a:gd name="connsiteY211" fmla="*/ 228331 h 923888"/>
                  <a:gd name="connsiteX212" fmla="*/ 847315 w 923646"/>
                  <a:gd name="connsiteY212" fmla="*/ 246397 h 923888"/>
                  <a:gd name="connsiteX213" fmla="*/ 833766 w 923646"/>
                  <a:gd name="connsiteY213" fmla="*/ 268980 h 923888"/>
                  <a:gd name="connsiteX214" fmla="*/ 833766 w 923646"/>
                  <a:gd name="connsiteY214" fmla="*/ 319567 h 923888"/>
                  <a:gd name="connsiteX215" fmla="*/ 847315 w 923646"/>
                  <a:gd name="connsiteY215" fmla="*/ 342150 h 923888"/>
                  <a:gd name="connsiteX216" fmla="*/ 892482 w 923646"/>
                  <a:gd name="connsiteY216" fmla="*/ 361119 h 923888"/>
                  <a:gd name="connsiteX217" fmla="*/ 861768 w 923646"/>
                  <a:gd name="connsiteY217" fmla="*/ 436998 h 9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923646" h="923888">
                    <a:moveTo>
                      <a:pt x="908741" y="338536"/>
                    </a:moveTo>
                    <a:lnTo>
                      <a:pt x="862672" y="319567"/>
                    </a:lnTo>
                    <a:cubicBezTo>
                      <a:pt x="864479" y="303307"/>
                      <a:pt x="864479" y="287047"/>
                      <a:pt x="862672" y="270787"/>
                    </a:cubicBezTo>
                    <a:lnTo>
                      <a:pt x="908741" y="251818"/>
                    </a:lnTo>
                    <a:cubicBezTo>
                      <a:pt x="914161" y="250011"/>
                      <a:pt x="918678" y="245494"/>
                      <a:pt x="920484" y="240074"/>
                    </a:cubicBezTo>
                    <a:cubicBezTo>
                      <a:pt x="922291" y="234654"/>
                      <a:pt x="922291" y="229235"/>
                      <a:pt x="920484" y="223814"/>
                    </a:cubicBezTo>
                    <a:lnTo>
                      <a:pt x="885255" y="137999"/>
                    </a:lnTo>
                    <a:cubicBezTo>
                      <a:pt x="883448" y="132579"/>
                      <a:pt x="878932" y="128062"/>
                      <a:pt x="873512" y="126256"/>
                    </a:cubicBezTo>
                    <a:cubicBezTo>
                      <a:pt x="868092" y="124449"/>
                      <a:pt x="861768" y="124449"/>
                      <a:pt x="857252" y="126256"/>
                    </a:cubicBezTo>
                    <a:lnTo>
                      <a:pt x="811183" y="145226"/>
                    </a:lnTo>
                    <a:cubicBezTo>
                      <a:pt x="801246" y="132579"/>
                      <a:pt x="789503" y="120836"/>
                      <a:pt x="776856" y="110899"/>
                    </a:cubicBezTo>
                    <a:lnTo>
                      <a:pt x="795826" y="64830"/>
                    </a:lnTo>
                    <a:cubicBezTo>
                      <a:pt x="797633" y="59410"/>
                      <a:pt x="797633" y="53990"/>
                      <a:pt x="795826" y="48570"/>
                    </a:cubicBezTo>
                    <a:cubicBezTo>
                      <a:pt x="794019" y="43150"/>
                      <a:pt x="789503" y="38633"/>
                      <a:pt x="784083" y="36827"/>
                    </a:cubicBezTo>
                    <a:lnTo>
                      <a:pt x="698267" y="1597"/>
                    </a:lnTo>
                    <a:cubicBezTo>
                      <a:pt x="687427" y="-2919"/>
                      <a:pt x="674781" y="2500"/>
                      <a:pt x="669361" y="13340"/>
                    </a:cubicBezTo>
                    <a:lnTo>
                      <a:pt x="650391" y="59410"/>
                    </a:lnTo>
                    <a:cubicBezTo>
                      <a:pt x="634132" y="57603"/>
                      <a:pt x="617872" y="57603"/>
                      <a:pt x="601612" y="59410"/>
                    </a:cubicBezTo>
                    <a:lnTo>
                      <a:pt x="582642" y="13340"/>
                    </a:lnTo>
                    <a:cubicBezTo>
                      <a:pt x="578126" y="2500"/>
                      <a:pt x="565479" y="-2919"/>
                      <a:pt x="554639" y="1597"/>
                    </a:cubicBezTo>
                    <a:lnTo>
                      <a:pt x="468824" y="36827"/>
                    </a:lnTo>
                    <a:cubicBezTo>
                      <a:pt x="463404" y="38633"/>
                      <a:pt x="458887" y="43150"/>
                      <a:pt x="457080" y="48570"/>
                    </a:cubicBezTo>
                    <a:cubicBezTo>
                      <a:pt x="455274" y="53990"/>
                      <a:pt x="455274" y="59410"/>
                      <a:pt x="457080" y="64830"/>
                    </a:cubicBezTo>
                    <a:lnTo>
                      <a:pt x="476051" y="110899"/>
                    </a:lnTo>
                    <a:cubicBezTo>
                      <a:pt x="463404" y="120836"/>
                      <a:pt x="451661" y="132579"/>
                      <a:pt x="441724" y="145226"/>
                    </a:cubicBezTo>
                    <a:lnTo>
                      <a:pt x="395655" y="126256"/>
                    </a:lnTo>
                    <a:cubicBezTo>
                      <a:pt x="390235" y="124449"/>
                      <a:pt x="383912" y="124449"/>
                      <a:pt x="379395" y="126256"/>
                    </a:cubicBezTo>
                    <a:cubicBezTo>
                      <a:pt x="373975" y="128062"/>
                      <a:pt x="369458" y="132579"/>
                      <a:pt x="367652" y="137999"/>
                    </a:cubicBezTo>
                    <a:lnTo>
                      <a:pt x="325196" y="239171"/>
                    </a:lnTo>
                    <a:cubicBezTo>
                      <a:pt x="308032" y="250011"/>
                      <a:pt x="291773" y="261754"/>
                      <a:pt x="277320" y="276207"/>
                    </a:cubicBezTo>
                    <a:cubicBezTo>
                      <a:pt x="241187" y="311437"/>
                      <a:pt x="217700" y="355700"/>
                      <a:pt x="206860" y="403575"/>
                    </a:cubicBezTo>
                    <a:cubicBezTo>
                      <a:pt x="199634" y="406285"/>
                      <a:pt x="192407" y="409899"/>
                      <a:pt x="186084" y="413512"/>
                    </a:cubicBezTo>
                    <a:lnTo>
                      <a:pt x="150855" y="378283"/>
                    </a:lnTo>
                    <a:cubicBezTo>
                      <a:pt x="146338" y="373766"/>
                      <a:pt x="140918" y="371959"/>
                      <a:pt x="135498" y="371959"/>
                    </a:cubicBezTo>
                    <a:cubicBezTo>
                      <a:pt x="130078" y="371959"/>
                      <a:pt x="124658" y="374669"/>
                      <a:pt x="120142" y="378283"/>
                    </a:cubicBezTo>
                    <a:lnTo>
                      <a:pt x="55102" y="444225"/>
                    </a:lnTo>
                    <a:cubicBezTo>
                      <a:pt x="46973" y="452355"/>
                      <a:pt x="46973" y="466808"/>
                      <a:pt x="55102" y="474938"/>
                    </a:cubicBezTo>
                    <a:lnTo>
                      <a:pt x="90332" y="510167"/>
                    </a:lnTo>
                    <a:cubicBezTo>
                      <a:pt x="82202" y="524621"/>
                      <a:pt x="75879" y="539977"/>
                      <a:pt x="71362" y="555333"/>
                    </a:cubicBezTo>
                    <a:lnTo>
                      <a:pt x="21679" y="555333"/>
                    </a:lnTo>
                    <a:cubicBezTo>
                      <a:pt x="9936" y="555333"/>
                      <a:pt x="0" y="565270"/>
                      <a:pt x="0" y="577013"/>
                    </a:cubicBezTo>
                    <a:lnTo>
                      <a:pt x="0" y="670055"/>
                    </a:lnTo>
                    <a:cubicBezTo>
                      <a:pt x="0" y="681798"/>
                      <a:pt x="9936" y="691735"/>
                      <a:pt x="21679" y="691735"/>
                    </a:cubicBezTo>
                    <a:lnTo>
                      <a:pt x="71362" y="691735"/>
                    </a:lnTo>
                    <a:cubicBezTo>
                      <a:pt x="75879" y="707091"/>
                      <a:pt x="82202" y="722448"/>
                      <a:pt x="90332" y="736901"/>
                    </a:cubicBezTo>
                    <a:lnTo>
                      <a:pt x="55102" y="772131"/>
                    </a:lnTo>
                    <a:cubicBezTo>
                      <a:pt x="46973" y="780261"/>
                      <a:pt x="46973" y="794714"/>
                      <a:pt x="55102" y="802844"/>
                    </a:cubicBezTo>
                    <a:lnTo>
                      <a:pt x="120142" y="868786"/>
                    </a:lnTo>
                    <a:cubicBezTo>
                      <a:pt x="124658" y="873303"/>
                      <a:pt x="130078" y="875109"/>
                      <a:pt x="135498" y="875109"/>
                    </a:cubicBezTo>
                    <a:cubicBezTo>
                      <a:pt x="140918" y="875109"/>
                      <a:pt x="146338" y="872400"/>
                      <a:pt x="150855" y="868786"/>
                    </a:cubicBezTo>
                    <a:lnTo>
                      <a:pt x="186084" y="833556"/>
                    </a:lnTo>
                    <a:cubicBezTo>
                      <a:pt x="200537" y="841686"/>
                      <a:pt x="215894" y="848010"/>
                      <a:pt x="231250" y="852526"/>
                    </a:cubicBezTo>
                    <a:lnTo>
                      <a:pt x="231250" y="902209"/>
                    </a:lnTo>
                    <a:cubicBezTo>
                      <a:pt x="231250" y="913952"/>
                      <a:pt x="241187" y="923888"/>
                      <a:pt x="252930" y="923888"/>
                    </a:cubicBezTo>
                    <a:lnTo>
                      <a:pt x="345069" y="923888"/>
                    </a:lnTo>
                    <a:cubicBezTo>
                      <a:pt x="356812" y="923888"/>
                      <a:pt x="366748" y="913952"/>
                      <a:pt x="366748" y="902209"/>
                    </a:cubicBezTo>
                    <a:lnTo>
                      <a:pt x="366748" y="852526"/>
                    </a:lnTo>
                    <a:cubicBezTo>
                      <a:pt x="382105" y="848010"/>
                      <a:pt x="397461" y="841686"/>
                      <a:pt x="411914" y="833556"/>
                    </a:cubicBezTo>
                    <a:lnTo>
                      <a:pt x="447144" y="868786"/>
                    </a:lnTo>
                    <a:cubicBezTo>
                      <a:pt x="451661" y="873303"/>
                      <a:pt x="457080" y="875109"/>
                      <a:pt x="462501" y="875109"/>
                    </a:cubicBezTo>
                    <a:cubicBezTo>
                      <a:pt x="467920" y="875109"/>
                      <a:pt x="473340" y="872400"/>
                      <a:pt x="477857" y="868786"/>
                    </a:cubicBezTo>
                    <a:lnTo>
                      <a:pt x="542896" y="802844"/>
                    </a:lnTo>
                    <a:cubicBezTo>
                      <a:pt x="551026" y="794714"/>
                      <a:pt x="551026" y="780261"/>
                      <a:pt x="542896" y="772131"/>
                    </a:cubicBezTo>
                    <a:lnTo>
                      <a:pt x="507667" y="736901"/>
                    </a:lnTo>
                    <a:cubicBezTo>
                      <a:pt x="511280" y="730578"/>
                      <a:pt x="513990" y="723351"/>
                      <a:pt x="517603" y="717028"/>
                    </a:cubicBezTo>
                    <a:cubicBezTo>
                      <a:pt x="547413" y="710705"/>
                      <a:pt x="575416" y="698962"/>
                      <a:pt x="600709" y="683605"/>
                    </a:cubicBezTo>
                    <a:cubicBezTo>
                      <a:pt x="607032" y="679992"/>
                      <a:pt x="608838" y="670958"/>
                      <a:pt x="605225" y="664636"/>
                    </a:cubicBezTo>
                    <a:cubicBezTo>
                      <a:pt x="601612" y="658312"/>
                      <a:pt x="592579" y="656505"/>
                      <a:pt x="586255" y="660119"/>
                    </a:cubicBezTo>
                    <a:cubicBezTo>
                      <a:pt x="549219" y="683605"/>
                      <a:pt x="505860" y="696252"/>
                      <a:pt x="461597" y="695348"/>
                    </a:cubicBezTo>
                    <a:cubicBezTo>
                      <a:pt x="332422" y="695348"/>
                      <a:pt x="227637" y="589659"/>
                      <a:pt x="227637" y="460485"/>
                    </a:cubicBezTo>
                    <a:cubicBezTo>
                      <a:pt x="227637" y="398156"/>
                      <a:pt x="252026" y="339440"/>
                      <a:pt x="297192" y="295177"/>
                    </a:cubicBezTo>
                    <a:cubicBezTo>
                      <a:pt x="341455" y="250914"/>
                      <a:pt x="400171" y="227428"/>
                      <a:pt x="462501" y="227428"/>
                    </a:cubicBezTo>
                    <a:cubicBezTo>
                      <a:pt x="462501" y="227428"/>
                      <a:pt x="463404" y="227428"/>
                      <a:pt x="463404" y="227428"/>
                    </a:cubicBezTo>
                    <a:cubicBezTo>
                      <a:pt x="592579" y="227428"/>
                      <a:pt x="697364" y="333116"/>
                      <a:pt x="697364" y="462291"/>
                    </a:cubicBezTo>
                    <a:cubicBezTo>
                      <a:pt x="697364" y="521910"/>
                      <a:pt x="674781" y="578820"/>
                      <a:pt x="633228" y="622179"/>
                    </a:cubicBezTo>
                    <a:cubicBezTo>
                      <a:pt x="627808" y="627599"/>
                      <a:pt x="628712" y="636632"/>
                      <a:pt x="634132" y="641149"/>
                    </a:cubicBezTo>
                    <a:cubicBezTo>
                      <a:pt x="639552" y="646569"/>
                      <a:pt x="648585" y="645666"/>
                      <a:pt x="653101" y="640246"/>
                    </a:cubicBezTo>
                    <a:cubicBezTo>
                      <a:pt x="666651" y="625792"/>
                      <a:pt x="678394" y="610436"/>
                      <a:pt x="688331" y="593273"/>
                    </a:cubicBezTo>
                    <a:lnTo>
                      <a:pt x="785890" y="553527"/>
                    </a:lnTo>
                    <a:cubicBezTo>
                      <a:pt x="791309" y="551720"/>
                      <a:pt x="795826" y="547204"/>
                      <a:pt x="797633" y="541784"/>
                    </a:cubicBezTo>
                    <a:cubicBezTo>
                      <a:pt x="799440" y="536364"/>
                      <a:pt x="799440" y="530040"/>
                      <a:pt x="797633" y="525524"/>
                    </a:cubicBezTo>
                    <a:lnTo>
                      <a:pt x="778663" y="479455"/>
                    </a:lnTo>
                    <a:cubicBezTo>
                      <a:pt x="791309" y="469518"/>
                      <a:pt x="803052" y="457775"/>
                      <a:pt x="812989" y="445128"/>
                    </a:cubicBezTo>
                    <a:lnTo>
                      <a:pt x="859059" y="464098"/>
                    </a:lnTo>
                    <a:cubicBezTo>
                      <a:pt x="864479" y="465905"/>
                      <a:pt x="869898" y="465905"/>
                      <a:pt x="875318" y="464098"/>
                    </a:cubicBezTo>
                    <a:cubicBezTo>
                      <a:pt x="880738" y="462291"/>
                      <a:pt x="885255" y="457775"/>
                      <a:pt x="887062" y="452355"/>
                    </a:cubicBezTo>
                    <a:lnTo>
                      <a:pt x="922291" y="366539"/>
                    </a:lnTo>
                    <a:cubicBezTo>
                      <a:pt x="924098" y="361119"/>
                      <a:pt x="924098" y="354796"/>
                      <a:pt x="922291" y="350279"/>
                    </a:cubicBezTo>
                    <a:cubicBezTo>
                      <a:pt x="917774" y="344860"/>
                      <a:pt x="914161" y="340343"/>
                      <a:pt x="908741" y="338536"/>
                    </a:cubicBezTo>
                    <a:lnTo>
                      <a:pt x="908741" y="338536"/>
                    </a:lnTo>
                    <a:close/>
                    <a:moveTo>
                      <a:pt x="404688" y="717028"/>
                    </a:moveTo>
                    <a:cubicBezTo>
                      <a:pt x="377588" y="748644"/>
                      <a:pt x="337842" y="767614"/>
                      <a:pt x="295386" y="767614"/>
                    </a:cubicBezTo>
                    <a:cubicBezTo>
                      <a:pt x="215894" y="767614"/>
                      <a:pt x="151758" y="702575"/>
                      <a:pt x="151758" y="623986"/>
                    </a:cubicBezTo>
                    <a:cubicBezTo>
                      <a:pt x="151758" y="581530"/>
                      <a:pt x="170727" y="541784"/>
                      <a:pt x="202344" y="514684"/>
                    </a:cubicBezTo>
                    <a:cubicBezTo>
                      <a:pt x="204150" y="522814"/>
                      <a:pt x="205957" y="530944"/>
                      <a:pt x="208667" y="539074"/>
                    </a:cubicBezTo>
                    <a:cubicBezTo>
                      <a:pt x="186084" y="561657"/>
                      <a:pt x="174341" y="592370"/>
                      <a:pt x="174341" y="623986"/>
                    </a:cubicBezTo>
                    <a:cubicBezTo>
                      <a:pt x="174341" y="690832"/>
                      <a:pt x="228540" y="745935"/>
                      <a:pt x="295386" y="745935"/>
                    </a:cubicBezTo>
                    <a:cubicBezTo>
                      <a:pt x="327002" y="745935"/>
                      <a:pt x="357715" y="733288"/>
                      <a:pt x="380298" y="711608"/>
                    </a:cubicBezTo>
                    <a:cubicBezTo>
                      <a:pt x="388428" y="713415"/>
                      <a:pt x="396558" y="715221"/>
                      <a:pt x="404688" y="717028"/>
                    </a:cubicBezTo>
                    <a:lnTo>
                      <a:pt x="404688" y="717028"/>
                    </a:lnTo>
                    <a:close/>
                    <a:moveTo>
                      <a:pt x="459790" y="723351"/>
                    </a:moveTo>
                    <a:cubicBezTo>
                      <a:pt x="467920" y="723351"/>
                      <a:pt x="475147" y="723351"/>
                      <a:pt x="482373" y="722448"/>
                    </a:cubicBezTo>
                    <a:cubicBezTo>
                      <a:pt x="481470" y="724255"/>
                      <a:pt x="480567" y="726061"/>
                      <a:pt x="479663" y="727868"/>
                    </a:cubicBezTo>
                    <a:cubicBezTo>
                      <a:pt x="475147" y="735998"/>
                      <a:pt x="476051" y="746838"/>
                      <a:pt x="483277" y="754064"/>
                    </a:cubicBezTo>
                    <a:lnTo>
                      <a:pt x="517603" y="788390"/>
                    </a:lnTo>
                    <a:lnTo>
                      <a:pt x="459790" y="846203"/>
                    </a:lnTo>
                    <a:lnTo>
                      <a:pt x="425464" y="811877"/>
                    </a:lnTo>
                    <a:cubicBezTo>
                      <a:pt x="418238" y="804650"/>
                      <a:pt x="407398" y="803747"/>
                      <a:pt x="399268" y="808263"/>
                    </a:cubicBezTo>
                    <a:cubicBezTo>
                      <a:pt x="384815" y="816393"/>
                      <a:pt x="368555" y="822717"/>
                      <a:pt x="352295" y="827233"/>
                    </a:cubicBezTo>
                    <a:cubicBezTo>
                      <a:pt x="343262" y="829943"/>
                      <a:pt x="336036" y="838073"/>
                      <a:pt x="336036" y="848010"/>
                    </a:cubicBezTo>
                    <a:lnTo>
                      <a:pt x="336036" y="896789"/>
                    </a:lnTo>
                    <a:lnTo>
                      <a:pt x="254737" y="896789"/>
                    </a:lnTo>
                    <a:lnTo>
                      <a:pt x="254737" y="848010"/>
                    </a:lnTo>
                    <a:cubicBezTo>
                      <a:pt x="254737" y="838073"/>
                      <a:pt x="248413" y="829943"/>
                      <a:pt x="238477" y="827233"/>
                    </a:cubicBezTo>
                    <a:cubicBezTo>
                      <a:pt x="222217" y="822717"/>
                      <a:pt x="206860" y="816393"/>
                      <a:pt x="191504" y="808263"/>
                    </a:cubicBezTo>
                    <a:cubicBezTo>
                      <a:pt x="183374" y="803747"/>
                      <a:pt x="172534" y="804650"/>
                      <a:pt x="165308" y="811877"/>
                    </a:cubicBezTo>
                    <a:lnTo>
                      <a:pt x="130982" y="846203"/>
                    </a:lnTo>
                    <a:lnTo>
                      <a:pt x="73169" y="788390"/>
                    </a:lnTo>
                    <a:lnTo>
                      <a:pt x="107495" y="754064"/>
                    </a:lnTo>
                    <a:cubicBezTo>
                      <a:pt x="114722" y="746838"/>
                      <a:pt x="115625" y="736901"/>
                      <a:pt x="111108" y="727868"/>
                    </a:cubicBezTo>
                    <a:cubicBezTo>
                      <a:pt x="102978" y="713415"/>
                      <a:pt x="96656" y="697155"/>
                      <a:pt x="92139" y="680895"/>
                    </a:cubicBezTo>
                    <a:cubicBezTo>
                      <a:pt x="89428" y="671862"/>
                      <a:pt x="81299" y="664636"/>
                      <a:pt x="71362" y="664636"/>
                    </a:cubicBezTo>
                    <a:lnTo>
                      <a:pt x="22583" y="664636"/>
                    </a:lnTo>
                    <a:lnTo>
                      <a:pt x="22583" y="582433"/>
                    </a:lnTo>
                    <a:lnTo>
                      <a:pt x="71362" y="582433"/>
                    </a:lnTo>
                    <a:cubicBezTo>
                      <a:pt x="81299" y="582433"/>
                      <a:pt x="89428" y="576110"/>
                      <a:pt x="92139" y="566173"/>
                    </a:cubicBezTo>
                    <a:cubicBezTo>
                      <a:pt x="96656" y="549914"/>
                      <a:pt x="102978" y="534557"/>
                      <a:pt x="111108" y="519200"/>
                    </a:cubicBezTo>
                    <a:cubicBezTo>
                      <a:pt x="115625" y="511071"/>
                      <a:pt x="114722" y="500231"/>
                      <a:pt x="107495" y="493005"/>
                    </a:cubicBezTo>
                    <a:lnTo>
                      <a:pt x="73169" y="458678"/>
                    </a:lnTo>
                    <a:lnTo>
                      <a:pt x="130982" y="400866"/>
                    </a:lnTo>
                    <a:lnTo>
                      <a:pt x="165308" y="435192"/>
                    </a:lnTo>
                    <a:cubicBezTo>
                      <a:pt x="172534" y="442418"/>
                      <a:pt x="183374" y="443322"/>
                      <a:pt x="191504" y="438805"/>
                    </a:cubicBezTo>
                    <a:cubicBezTo>
                      <a:pt x="193310" y="437902"/>
                      <a:pt x="196021" y="436095"/>
                      <a:pt x="197827" y="435192"/>
                    </a:cubicBezTo>
                    <a:cubicBezTo>
                      <a:pt x="196924" y="443322"/>
                      <a:pt x="196924" y="451451"/>
                      <a:pt x="196924" y="459581"/>
                    </a:cubicBezTo>
                    <a:cubicBezTo>
                      <a:pt x="196924" y="466808"/>
                      <a:pt x="196924" y="474938"/>
                      <a:pt x="197827" y="482165"/>
                    </a:cubicBezTo>
                    <a:cubicBezTo>
                      <a:pt x="151758" y="514684"/>
                      <a:pt x="124658" y="566173"/>
                      <a:pt x="124658" y="622179"/>
                    </a:cubicBezTo>
                    <a:cubicBezTo>
                      <a:pt x="124658" y="716124"/>
                      <a:pt x="201441" y="792907"/>
                      <a:pt x="295386" y="792907"/>
                    </a:cubicBezTo>
                    <a:cubicBezTo>
                      <a:pt x="351392" y="792907"/>
                      <a:pt x="402881" y="765807"/>
                      <a:pt x="434497" y="719738"/>
                    </a:cubicBezTo>
                    <a:cubicBezTo>
                      <a:pt x="443531" y="722448"/>
                      <a:pt x="450757" y="723351"/>
                      <a:pt x="459790" y="723351"/>
                    </a:cubicBezTo>
                    <a:cubicBezTo>
                      <a:pt x="458887" y="723351"/>
                      <a:pt x="458887" y="723351"/>
                      <a:pt x="459790" y="723351"/>
                    </a:cubicBezTo>
                    <a:lnTo>
                      <a:pt x="459790" y="723351"/>
                    </a:lnTo>
                    <a:close/>
                    <a:moveTo>
                      <a:pt x="352295" y="699865"/>
                    </a:moveTo>
                    <a:cubicBezTo>
                      <a:pt x="336036" y="711608"/>
                      <a:pt x="316163" y="717931"/>
                      <a:pt x="296289" y="717931"/>
                    </a:cubicBezTo>
                    <a:cubicBezTo>
                      <a:pt x="243897" y="717931"/>
                      <a:pt x="202344" y="675475"/>
                      <a:pt x="202344" y="623082"/>
                    </a:cubicBezTo>
                    <a:cubicBezTo>
                      <a:pt x="202344" y="602306"/>
                      <a:pt x="208667" y="582433"/>
                      <a:pt x="221314" y="567076"/>
                    </a:cubicBezTo>
                    <a:cubicBezTo>
                      <a:pt x="246607" y="625792"/>
                      <a:pt x="293579" y="673669"/>
                      <a:pt x="352295" y="699865"/>
                    </a:cubicBezTo>
                    <a:close/>
                    <a:moveTo>
                      <a:pt x="387525" y="153355"/>
                    </a:moveTo>
                    <a:lnTo>
                      <a:pt x="406495" y="160582"/>
                    </a:lnTo>
                    <a:cubicBezTo>
                      <a:pt x="404688" y="164195"/>
                      <a:pt x="402881" y="168712"/>
                      <a:pt x="402881" y="173228"/>
                    </a:cubicBezTo>
                    <a:lnTo>
                      <a:pt x="402881" y="205748"/>
                    </a:lnTo>
                    <a:cubicBezTo>
                      <a:pt x="388428" y="209361"/>
                      <a:pt x="373975" y="213878"/>
                      <a:pt x="359522" y="219298"/>
                    </a:cubicBezTo>
                    <a:lnTo>
                      <a:pt x="387525" y="153355"/>
                    </a:lnTo>
                    <a:close/>
                    <a:moveTo>
                      <a:pt x="458887" y="200328"/>
                    </a:moveTo>
                    <a:cubicBezTo>
                      <a:pt x="448951" y="200328"/>
                      <a:pt x="439014" y="201231"/>
                      <a:pt x="429981" y="202135"/>
                    </a:cubicBezTo>
                    <a:lnTo>
                      <a:pt x="429981" y="173228"/>
                    </a:lnTo>
                    <a:cubicBezTo>
                      <a:pt x="429981" y="172325"/>
                      <a:pt x="429981" y="172325"/>
                      <a:pt x="430884" y="172325"/>
                    </a:cubicBezTo>
                    <a:lnTo>
                      <a:pt x="475147" y="172325"/>
                    </a:lnTo>
                    <a:cubicBezTo>
                      <a:pt x="476051" y="172325"/>
                      <a:pt x="476051" y="172325"/>
                      <a:pt x="476051" y="173228"/>
                    </a:cubicBezTo>
                    <a:lnTo>
                      <a:pt x="476051" y="200328"/>
                    </a:lnTo>
                    <a:cubicBezTo>
                      <a:pt x="470630" y="200328"/>
                      <a:pt x="465211" y="200328"/>
                      <a:pt x="458887" y="200328"/>
                    </a:cubicBezTo>
                    <a:cubicBezTo>
                      <a:pt x="459790" y="200328"/>
                      <a:pt x="459790" y="200328"/>
                      <a:pt x="458887" y="200328"/>
                    </a:cubicBezTo>
                    <a:close/>
                    <a:moveTo>
                      <a:pt x="574512" y="226525"/>
                    </a:moveTo>
                    <a:cubicBezTo>
                      <a:pt x="579933" y="222911"/>
                      <a:pt x="586255" y="219298"/>
                      <a:pt x="592579" y="216588"/>
                    </a:cubicBezTo>
                    <a:cubicBezTo>
                      <a:pt x="635938" y="198521"/>
                      <a:pt x="685621" y="219298"/>
                      <a:pt x="703687" y="262658"/>
                    </a:cubicBezTo>
                    <a:cubicBezTo>
                      <a:pt x="715431" y="290660"/>
                      <a:pt x="710914" y="321373"/>
                      <a:pt x="693751" y="344860"/>
                    </a:cubicBezTo>
                    <a:cubicBezTo>
                      <a:pt x="667554" y="293370"/>
                      <a:pt x="626002" y="251818"/>
                      <a:pt x="574512" y="226525"/>
                    </a:cubicBezTo>
                    <a:lnTo>
                      <a:pt x="574512" y="226525"/>
                    </a:lnTo>
                    <a:close/>
                    <a:moveTo>
                      <a:pt x="861768" y="436998"/>
                    </a:moveTo>
                    <a:lnTo>
                      <a:pt x="816602" y="418028"/>
                    </a:lnTo>
                    <a:cubicBezTo>
                      <a:pt x="807569" y="414415"/>
                      <a:pt x="797633" y="417125"/>
                      <a:pt x="791309" y="424352"/>
                    </a:cubicBezTo>
                    <a:cubicBezTo>
                      <a:pt x="780469" y="437902"/>
                      <a:pt x="768726" y="449645"/>
                      <a:pt x="755177" y="460485"/>
                    </a:cubicBezTo>
                    <a:cubicBezTo>
                      <a:pt x="747950" y="466808"/>
                      <a:pt x="744337" y="476744"/>
                      <a:pt x="748853" y="485777"/>
                    </a:cubicBezTo>
                    <a:lnTo>
                      <a:pt x="767823" y="530040"/>
                    </a:lnTo>
                    <a:lnTo>
                      <a:pt x="702784" y="557140"/>
                    </a:lnTo>
                    <a:cubicBezTo>
                      <a:pt x="714527" y="527331"/>
                      <a:pt x="720850" y="494811"/>
                      <a:pt x="720850" y="461388"/>
                    </a:cubicBezTo>
                    <a:cubicBezTo>
                      <a:pt x="720850" y="448742"/>
                      <a:pt x="719947" y="436998"/>
                      <a:pt x="718141" y="425255"/>
                    </a:cubicBezTo>
                    <a:cubicBezTo>
                      <a:pt x="746143" y="405382"/>
                      <a:pt x="766920" y="376476"/>
                      <a:pt x="777760" y="343956"/>
                    </a:cubicBezTo>
                    <a:cubicBezTo>
                      <a:pt x="789503" y="307824"/>
                      <a:pt x="787696" y="268077"/>
                      <a:pt x="773243" y="232847"/>
                    </a:cubicBezTo>
                    <a:cubicBezTo>
                      <a:pt x="755177" y="189488"/>
                      <a:pt x="719947" y="156969"/>
                      <a:pt x="675684" y="141612"/>
                    </a:cubicBezTo>
                    <a:cubicBezTo>
                      <a:pt x="668458" y="138902"/>
                      <a:pt x="661231" y="143419"/>
                      <a:pt x="658521" y="149742"/>
                    </a:cubicBezTo>
                    <a:cubicBezTo>
                      <a:pt x="655811" y="156969"/>
                      <a:pt x="660328" y="164195"/>
                      <a:pt x="666651" y="166905"/>
                    </a:cubicBezTo>
                    <a:cubicBezTo>
                      <a:pt x="703687" y="179552"/>
                      <a:pt x="732594" y="206651"/>
                      <a:pt x="747950" y="242784"/>
                    </a:cubicBezTo>
                    <a:cubicBezTo>
                      <a:pt x="770533" y="296984"/>
                      <a:pt x="755177" y="357506"/>
                      <a:pt x="711817" y="395445"/>
                    </a:cubicBezTo>
                    <a:cubicBezTo>
                      <a:pt x="710010" y="387316"/>
                      <a:pt x="707301" y="379186"/>
                      <a:pt x="704591" y="371959"/>
                    </a:cubicBezTo>
                    <a:cubicBezTo>
                      <a:pt x="735303" y="340343"/>
                      <a:pt x="744337" y="293370"/>
                      <a:pt x="727174" y="251818"/>
                    </a:cubicBezTo>
                    <a:cubicBezTo>
                      <a:pt x="703687" y="194908"/>
                      <a:pt x="637745" y="167809"/>
                      <a:pt x="580836" y="191295"/>
                    </a:cubicBezTo>
                    <a:cubicBezTo>
                      <a:pt x="567286" y="196715"/>
                      <a:pt x="555543" y="204845"/>
                      <a:pt x="545606" y="214781"/>
                    </a:cubicBezTo>
                    <a:cubicBezTo>
                      <a:pt x="537476" y="212071"/>
                      <a:pt x="530250" y="209361"/>
                      <a:pt x="522120" y="207555"/>
                    </a:cubicBezTo>
                    <a:cubicBezTo>
                      <a:pt x="535670" y="192198"/>
                      <a:pt x="552833" y="179552"/>
                      <a:pt x="572706" y="171422"/>
                    </a:cubicBezTo>
                    <a:cubicBezTo>
                      <a:pt x="584449" y="166905"/>
                      <a:pt x="597095" y="163292"/>
                      <a:pt x="609742" y="162389"/>
                    </a:cubicBezTo>
                    <a:cubicBezTo>
                      <a:pt x="616968" y="161485"/>
                      <a:pt x="622388" y="155162"/>
                      <a:pt x="621485" y="147936"/>
                    </a:cubicBezTo>
                    <a:cubicBezTo>
                      <a:pt x="620582" y="140709"/>
                      <a:pt x="614259" y="135289"/>
                      <a:pt x="607032" y="136193"/>
                    </a:cubicBezTo>
                    <a:cubicBezTo>
                      <a:pt x="591676" y="137999"/>
                      <a:pt x="577222" y="141612"/>
                      <a:pt x="562769" y="147936"/>
                    </a:cubicBezTo>
                    <a:cubicBezTo>
                      <a:pt x="539283" y="157872"/>
                      <a:pt x="519410" y="172325"/>
                      <a:pt x="503150" y="190392"/>
                    </a:cubicBezTo>
                    <a:lnTo>
                      <a:pt x="503150" y="173228"/>
                    </a:lnTo>
                    <a:cubicBezTo>
                      <a:pt x="503150" y="157872"/>
                      <a:pt x="490503" y="145226"/>
                      <a:pt x="475147" y="145226"/>
                    </a:cubicBezTo>
                    <a:cubicBezTo>
                      <a:pt x="481470" y="139805"/>
                      <a:pt x="486890" y="133482"/>
                      <a:pt x="494117" y="128966"/>
                    </a:cubicBezTo>
                    <a:cubicBezTo>
                      <a:pt x="501343" y="122643"/>
                      <a:pt x="504956" y="112706"/>
                      <a:pt x="500440" y="103673"/>
                    </a:cubicBezTo>
                    <a:lnTo>
                      <a:pt x="481470" y="59410"/>
                    </a:lnTo>
                    <a:lnTo>
                      <a:pt x="557349" y="27794"/>
                    </a:lnTo>
                    <a:lnTo>
                      <a:pt x="576319" y="72960"/>
                    </a:lnTo>
                    <a:cubicBezTo>
                      <a:pt x="579933" y="81993"/>
                      <a:pt x="588966" y="87413"/>
                      <a:pt x="598902" y="86510"/>
                    </a:cubicBezTo>
                    <a:cubicBezTo>
                      <a:pt x="616065" y="84703"/>
                      <a:pt x="633228" y="84703"/>
                      <a:pt x="649488" y="86510"/>
                    </a:cubicBezTo>
                    <a:cubicBezTo>
                      <a:pt x="659425" y="87413"/>
                      <a:pt x="668458" y="81993"/>
                      <a:pt x="672071" y="72960"/>
                    </a:cubicBezTo>
                    <a:lnTo>
                      <a:pt x="691041" y="27794"/>
                    </a:lnTo>
                    <a:lnTo>
                      <a:pt x="766920" y="59410"/>
                    </a:lnTo>
                    <a:lnTo>
                      <a:pt x="747950" y="103673"/>
                    </a:lnTo>
                    <a:cubicBezTo>
                      <a:pt x="744337" y="112706"/>
                      <a:pt x="747047" y="123546"/>
                      <a:pt x="754273" y="128966"/>
                    </a:cubicBezTo>
                    <a:cubicBezTo>
                      <a:pt x="767823" y="139805"/>
                      <a:pt x="779566" y="151549"/>
                      <a:pt x="790406" y="165098"/>
                    </a:cubicBezTo>
                    <a:cubicBezTo>
                      <a:pt x="796730" y="172325"/>
                      <a:pt x="806666" y="175035"/>
                      <a:pt x="815699" y="171422"/>
                    </a:cubicBezTo>
                    <a:lnTo>
                      <a:pt x="860865" y="152452"/>
                    </a:lnTo>
                    <a:lnTo>
                      <a:pt x="892482" y="228331"/>
                    </a:lnTo>
                    <a:lnTo>
                      <a:pt x="847315" y="246397"/>
                    </a:lnTo>
                    <a:cubicBezTo>
                      <a:pt x="838282" y="250011"/>
                      <a:pt x="832863" y="259044"/>
                      <a:pt x="833766" y="268980"/>
                    </a:cubicBezTo>
                    <a:cubicBezTo>
                      <a:pt x="835572" y="285241"/>
                      <a:pt x="835572" y="302403"/>
                      <a:pt x="833766" y="319567"/>
                    </a:cubicBezTo>
                    <a:cubicBezTo>
                      <a:pt x="832863" y="329503"/>
                      <a:pt x="838282" y="338536"/>
                      <a:pt x="847315" y="342150"/>
                    </a:cubicBezTo>
                    <a:lnTo>
                      <a:pt x="892482" y="361119"/>
                    </a:lnTo>
                    <a:lnTo>
                      <a:pt x="861768" y="43699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 name="Freeform 8">
                <a:extLst>
                  <a:ext uri="{FF2B5EF4-FFF2-40B4-BE49-F238E27FC236}">
                    <a16:creationId xmlns:a16="http://schemas.microsoft.com/office/drawing/2014/main" id="{9773D425-1E73-F4B8-E809-07332EE916B8}"/>
                  </a:ext>
                </a:extLst>
              </p:cNvPr>
              <p:cNvSpPr/>
              <p:nvPr/>
            </p:nvSpPr>
            <p:spPr>
              <a:xfrm>
                <a:off x="10632408" y="4081957"/>
                <a:ext cx="406494" cy="406494"/>
              </a:xfrm>
              <a:custGeom>
                <a:avLst/>
                <a:gdLst>
                  <a:gd name="connsiteX0" fmla="*/ 203247 w 406494"/>
                  <a:gd name="connsiteY0" fmla="*/ 0 h 406494"/>
                  <a:gd name="connsiteX1" fmla="*/ 0 w 406494"/>
                  <a:gd name="connsiteY1" fmla="*/ 203247 h 406494"/>
                  <a:gd name="connsiteX2" fmla="*/ 203247 w 406494"/>
                  <a:gd name="connsiteY2" fmla="*/ 406495 h 406494"/>
                  <a:gd name="connsiteX3" fmla="*/ 406495 w 406494"/>
                  <a:gd name="connsiteY3" fmla="*/ 203247 h 406494"/>
                  <a:gd name="connsiteX4" fmla="*/ 203247 w 406494"/>
                  <a:gd name="connsiteY4" fmla="*/ 0 h 406494"/>
                  <a:gd name="connsiteX5" fmla="*/ 303516 w 406494"/>
                  <a:gd name="connsiteY5" fmla="*/ 348682 h 406494"/>
                  <a:gd name="connsiteX6" fmla="*/ 290870 w 406494"/>
                  <a:gd name="connsiteY6" fmla="*/ 326099 h 406494"/>
                  <a:gd name="connsiteX7" fmla="*/ 272803 w 406494"/>
                  <a:gd name="connsiteY7" fmla="*/ 321582 h 406494"/>
                  <a:gd name="connsiteX8" fmla="*/ 268287 w 406494"/>
                  <a:gd name="connsiteY8" fmla="*/ 339649 h 406494"/>
                  <a:gd name="connsiteX9" fmla="*/ 280933 w 406494"/>
                  <a:gd name="connsiteY9" fmla="*/ 362232 h 406494"/>
                  <a:gd name="connsiteX10" fmla="*/ 218604 w 406494"/>
                  <a:gd name="connsiteY10" fmla="*/ 379395 h 406494"/>
                  <a:gd name="connsiteX11" fmla="*/ 218604 w 406494"/>
                  <a:gd name="connsiteY11" fmla="*/ 353198 h 406494"/>
                  <a:gd name="connsiteX12" fmla="*/ 205054 w 406494"/>
                  <a:gd name="connsiteY12" fmla="*/ 339649 h 406494"/>
                  <a:gd name="connsiteX13" fmla="*/ 191504 w 406494"/>
                  <a:gd name="connsiteY13" fmla="*/ 353198 h 406494"/>
                  <a:gd name="connsiteX14" fmla="*/ 191504 w 406494"/>
                  <a:gd name="connsiteY14" fmla="*/ 379395 h 406494"/>
                  <a:gd name="connsiteX15" fmla="*/ 129175 w 406494"/>
                  <a:gd name="connsiteY15" fmla="*/ 362232 h 406494"/>
                  <a:gd name="connsiteX16" fmla="*/ 141822 w 406494"/>
                  <a:gd name="connsiteY16" fmla="*/ 339649 h 406494"/>
                  <a:gd name="connsiteX17" fmla="*/ 137305 w 406494"/>
                  <a:gd name="connsiteY17" fmla="*/ 321582 h 406494"/>
                  <a:gd name="connsiteX18" fmla="*/ 119239 w 406494"/>
                  <a:gd name="connsiteY18" fmla="*/ 326099 h 406494"/>
                  <a:gd name="connsiteX19" fmla="*/ 103882 w 406494"/>
                  <a:gd name="connsiteY19" fmla="*/ 348682 h 406494"/>
                  <a:gd name="connsiteX20" fmla="*/ 57813 w 406494"/>
                  <a:gd name="connsiteY20" fmla="*/ 302613 h 406494"/>
                  <a:gd name="connsiteX21" fmla="*/ 80396 w 406494"/>
                  <a:gd name="connsiteY21" fmla="*/ 289966 h 406494"/>
                  <a:gd name="connsiteX22" fmla="*/ 84912 w 406494"/>
                  <a:gd name="connsiteY22" fmla="*/ 271900 h 406494"/>
                  <a:gd name="connsiteX23" fmla="*/ 66846 w 406494"/>
                  <a:gd name="connsiteY23" fmla="*/ 267383 h 406494"/>
                  <a:gd name="connsiteX24" fmla="*/ 44263 w 406494"/>
                  <a:gd name="connsiteY24" fmla="*/ 280030 h 406494"/>
                  <a:gd name="connsiteX25" fmla="*/ 27100 w 406494"/>
                  <a:gd name="connsiteY25" fmla="*/ 217700 h 406494"/>
                  <a:gd name="connsiteX26" fmla="*/ 53296 w 406494"/>
                  <a:gd name="connsiteY26" fmla="*/ 217700 h 406494"/>
                  <a:gd name="connsiteX27" fmla="*/ 66846 w 406494"/>
                  <a:gd name="connsiteY27" fmla="*/ 204150 h 406494"/>
                  <a:gd name="connsiteX28" fmla="*/ 53296 w 406494"/>
                  <a:gd name="connsiteY28" fmla="*/ 190601 h 406494"/>
                  <a:gd name="connsiteX29" fmla="*/ 27100 w 406494"/>
                  <a:gd name="connsiteY29" fmla="*/ 190601 h 406494"/>
                  <a:gd name="connsiteX30" fmla="*/ 44263 w 406494"/>
                  <a:gd name="connsiteY30" fmla="*/ 128271 h 406494"/>
                  <a:gd name="connsiteX31" fmla="*/ 66846 w 406494"/>
                  <a:gd name="connsiteY31" fmla="*/ 140918 h 406494"/>
                  <a:gd name="connsiteX32" fmla="*/ 73169 w 406494"/>
                  <a:gd name="connsiteY32" fmla="*/ 142725 h 406494"/>
                  <a:gd name="connsiteX33" fmla="*/ 84912 w 406494"/>
                  <a:gd name="connsiteY33" fmla="*/ 135498 h 406494"/>
                  <a:gd name="connsiteX34" fmla="*/ 80396 w 406494"/>
                  <a:gd name="connsiteY34" fmla="*/ 117432 h 406494"/>
                  <a:gd name="connsiteX35" fmla="*/ 57813 w 406494"/>
                  <a:gd name="connsiteY35" fmla="*/ 104785 h 406494"/>
                  <a:gd name="connsiteX36" fmla="*/ 103882 w 406494"/>
                  <a:gd name="connsiteY36" fmla="*/ 58716 h 406494"/>
                  <a:gd name="connsiteX37" fmla="*/ 116529 w 406494"/>
                  <a:gd name="connsiteY37" fmla="*/ 81299 h 406494"/>
                  <a:gd name="connsiteX38" fmla="*/ 128272 w 406494"/>
                  <a:gd name="connsiteY38" fmla="*/ 88525 h 406494"/>
                  <a:gd name="connsiteX39" fmla="*/ 134595 w 406494"/>
                  <a:gd name="connsiteY39" fmla="*/ 86719 h 406494"/>
                  <a:gd name="connsiteX40" fmla="*/ 139112 w 406494"/>
                  <a:gd name="connsiteY40" fmla="*/ 68652 h 406494"/>
                  <a:gd name="connsiteX41" fmla="*/ 126465 w 406494"/>
                  <a:gd name="connsiteY41" fmla="*/ 46069 h 406494"/>
                  <a:gd name="connsiteX42" fmla="*/ 188794 w 406494"/>
                  <a:gd name="connsiteY42" fmla="*/ 28906 h 406494"/>
                  <a:gd name="connsiteX43" fmla="*/ 188794 w 406494"/>
                  <a:gd name="connsiteY43" fmla="*/ 55102 h 406494"/>
                  <a:gd name="connsiteX44" fmla="*/ 202344 w 406494"/>
                  <a:gd name="connsiteY44" fmla="*/ 68652 h 406494"/>
                  <a:gd name="connsiteX45" fmla="*/ 215894 w 406494"/>
                  <a:gd name="connsiteY45" fmla="*/ 55102 h 406494"/>
                  <a:gd name="connsiteX46" fmla="*/ 215894 w 406494"/>
                  <a:gd name="connsiteY46" fmla="*/ 28906 h 406494"/>
                  <a:gd name="connsiteX47" fmla="*/ 278223 w 406494"/>
                  <a:gd name="connsiteY47" fmla="*/ 46069 h 406494"/>
                  <a:gd name="connsiteX48" fmla="*/ 265577 w 406494"/>
                  <a:gd name="connsiteY48" fmla="*/ 68652 h 406494"/>
                  <a:gd name="connsiteX49" fmla="*/ 270093 w 406494"/>
                  <a:gd name="connsiteY49" fmla="*/ 86719 h 406494"/>
                  <a:gd name="connsiteX50" fmla="*/ 276416 w 406494"/>
                  <a:gd name="connsiteY50" fmla="*/ 88525 h 406494"/>
                  <a:gd name="connsiteX51" fmla="*/ 288160 w 406494"/>
                  <a:gd name="connsiteY51" fmla="*/ 81299 h 406494"/>
                  <a:gd name="connsiteX52" fmla="*/ 300806 w 406494"/>
                  <a:gd name="connsiteY52" fmla="*/ 58716 h 406494"/>
                  <a:gd name="connsiteX53" fmla="*/ 346876 w 406494"/>
                  <a:gd name="connsiteY53" fmla="*/ 104785 h 406494"/>
                  <a:gd name="connsiteX54" fmla="*/ 324293 w 406494"/>
                  <a:gd name="connsiteY54" fmla="*/ 117432 h 406494"/>
                  <a:gd name="connsiteX55" fmla="*/ 319776 w 406494"/>
                  <a:gd name="connsiteY55" fmla="*/ 135498 h 406494"/>
                  <a:gd name="connsiteX56" fmla="*/ 331519 w 406494"/>
                  <a:gd name="connsiteY56" fmla="*/ 142725 h 406494"/>
                  <a:gd name="connsiteX57" fmla="*/ 337842 w 406494"/>
                  <a:gd name="connsiteY57" fmla="*/ 140918 h 406494"/>
                  <a:gd name="connsiteX58" fmla="*/ 360425 w 406494"/>
                  <a:gd name="connsiteY58" fmla="*/ 128271 h 406494"/>
                  <a:gd name="connsiteX59" fmla="*/ 377588 w 406494"/>
                  <a:gd name="connsiteY59" fmla="*/ 190601 h 406494"/>
                  <a:gd name="connsiteX60" fmla="*/ 351392 w 406494"/>
                  <a:gd name="connsiteY60" fmla="*/ 190601 h 406494"/>
                  <a:gd name="connsiteX61" fmla="*/ 337842 w 406494"/>
                  <a:gd name="connsiteY61" fmla="*/ 204150 h 406494"/>
                  <a:gd name="connsiteX62" fmla="*/ 351392 w 406494"/>
                  <a:gd name="connsiteY62" fmla="*/ 217700 h 406494"/>
                  <a:gd name="connsiteX63" fmla="*/ 377588 w 406494"/>
                  <a:gd name="connsiteY63" fmla="*/ 217700 h 406494"/>
                  <a:gd name="connsiteX64" fmla="*/ 360425 w 406494"/>
                  <a:gd name="connsiteY64" fmla="*/ 280030 h 406494"/>
                  <a:gd name="connsiteX65" fmla="*/ 337842 w 406494"/>
                  <a:gd name="connsiteY65" fmla="*/ 267383 h 406494"/>
                  <a:gd name="connsiteX66" fmla="*/ 319776 w 406494"/>
                  <a:gd name="connsiteY66" fmla="*/ 271900 h 406494"/>
                  <a:gd name="connsiteX67" fmla="*/ 324293 w 406494"/>
                  <a:gd name="connsiteY67" fmla="*/ 289966 h 406494"/>
                  <a:gd name="connsiteX68" fmla="*/ 346876 w 406494"/>
                  <a:gd name="connsiteY68" fmla="*/ 302613 h 406494"/>
                  <a:gd name="connsiteX69" fmla="*/ 303516 w 406494"/>
                  <a:gd name="connsiteY69" fmla="*/ 348682 h 406494"/>
                  <a:gd name="connsiteX70" fmla="*/ 303516 w 406494"/>
                  <a:gd name="connsiteY70" fmla="*/ 348682 h 4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06494" h="406494">
                    <a:moveTo>
                      <a:pt x="203247" y="0"/>
                    </a:moveTo>
                    <a:cubicBezTo>
                      <a:pt x="91235" y="0"/>
                      <a:pt x="0" y="91235"/>
                      <a:pt x="0" y="203247"/>
                    </a:cubicBezTo>
                    <a:cubicBezTo>
                      <a:pt x="0" y="315259"/>
                      <a:pt x="91235" y="406495"/>
                      <a:pt x="203247" y="406495"/>
                    </a:cubicBezTo>
                    <a:cubicBezTo>
                      <a:pt x="315259" y="406495"/>
                      <a:pt x="406495" y="315259"/>
                      <a:pt x="406495" y="203247"/>
                    </a:cubicBezTo>
                    <a:cubicBezTo>
                      <a:pt x="406495" y="91235"/>
                      <a:pt x="316163" y="0"/>
                      <a:pt x="203247" y="0"/>
                    </a:cubicBezTo>
                    <a:close/>
                    <a:moveTo>
                      <a:pt x="303516" y="348682"/>
                    </a:moveTo>
                    <a:lnTo>
                      <a:pt x="290870" y="326099"/>
                    </a:lnTo>
                    <a:cubicBezTo>
                      <a:pt x="287256" y="319775"/>
                      <a:pt x="279127" y="317066"/>
                      <a:pt x="272803" y="321582"/>
                    </a:cubicBezTo>
                    <a:cubicBezTo>
                      <a:pt x="266480" y="325196"/>
                      <a:pt x="263770" y="333325"/>
                      <a:pt x="268287" y="339649"/>
                    </a:cubicBezTo>
                    <a:lnTo>
                      <a:pt x="280933" y="362232"/>
                    </a:lnTo>
                    <a:cubicBezTo>
                      <a:pt x="261963" y="371265"/>
                      <a:pt x="240283" y="377588"/>
                      <a:pt x="218604" y="379395"/>
                    </a:cubicBezTo>
                    <a:lnTo>
                      <a:pt x="218604" y="353198"/>
                    </a:lnTo>
                    <a:cubicBezTo>
                      <a:pt x="218604" y="345972"/>
                      <a:pt x="212281" y="339649"/>
                      <a:pt x="205054" y="339649"/>
                    </a:cubicBezTo>
                    <a:cubicBezTo>
                      <a:pt x="197828" y="339649"/>
                      <a:pt x="191504" y="345972"/>
                      <a:pt x="191504" y="353198"/>
                    </a:cubicBezTo>
                    <a:lnTo>
                      <a:pt x="191504" y="379395"/>
                    </a:lnTo>
                    <a:cubicBezTo>
                      <a:pt x="168921" y="377588"/>
                      <a:pt x="148145" y="372168"/>
                      <a:pt x="129175" y="362232"/>
                    </a:cubicBezTo>
                    <a:lnTo>
                      <a:pt x="141822" y="339649"/>
                    </a:lnTo>
                    <a:cubicBezTo>
                      <a:pt x="145435" y="333325"/>
                      <a:pt x="143628" y="325196"/>
                      <a:pt x="137305" y="321582"/>
                    </a:cubicBezTo>
                    <a:cubicBezTo>
                      <a:pt x="130982" y="317969"/>
                      <a:pt x="122852" y="319775"/>
                      <a:pt x="119239" y="326099"/>
                    </a:cubicBezTo>
                    <a:lnTo>
                      <a:pt x="103882" y="348682"/>
                    </a:lnTo>
                    <a:cubicBezTo>
                      <a:pt x="85816" y="336035"/>
                      <a:pt x="70459" y="320679"/>
                      <a:pt x="57813" y="302613"/>
                    </a:cubicBezTo>
                    <a:lnTo>
                      <a:pt x="80396" y="289966"/>
                    </a:lnTo>
                    <a:cubicBezTo>
                      <a:pt x="86719" y="286352"/>
                      <a:pt x="89429" y="278223"/>
                      <a:pt x="84912" y="271900"/>
                    </a:cubicBezTo>
                    <a:cubicBezTo>
                      <a:pt x="81299" y="265576"/>
                      <a:pt x="73169" y="262866"/>
                      <a:pt x="66846" y="267383"/>
                    </a:cubicBezTo>
                    <a:lnTo>
                      <a:pt x="44263" y="280030"/>
                    </a:lnTo>
                    <a:cubicBezTo>
                      <a:pt x="35230" y="261060"/>
                      <a:pt x="28906" y="239380"/>
                      <a:pt x="27100" y="217700"/>
                    </a:cubicBezTo>
                    <a:lnTo>
                      <a:pt x="53296" y="217700"/>
                    </a:lnTo>
                    <a:cubicBezTo>
                      <a:pt x="60523" y="217700"/>
                      <a:pt x="66846" y="211377"/>
                      <a:pt x="66846" y="204150"/>
                    </a:cubicBezTo>
                    <a:cubicBezTo>
                      <a:pt x="66846" y="196924"/>
                      <a:pt x="60523" y="190601"/>
                      <a:pt x="53296" y="190601"/>
                    </a:cubicBezTo>
                    <a:lnTo>
                      <a:pt x="27100" y="190601"/>
                    </a:lnTo>
                    <a:cubicBezTo>
                      <a:pt x="28906" y="168018"/>
                      <a:pt x="34326" y="147241"/>
                      <a:pt x="44263" y="128271"/>
                    </a:cubicBezTo>
                    <a:lnTo>
                      <a:pt x="66846" y="140918"/>
                    </a:lnTo>
                    <a:cubicBezTo>
                      <a:pt x="68652" y="141821"/>
                      <a:pt x="71363" y="142725"/>
                      <a:pt x="73169" y="142725"/>
                    </a:cubicBezTo>
                    <a:cubicBezTo>
                      <a:pt x="77685" y="142725"/>
                      <a:pt x="82202" y="140015"/>
                      <a:pt x="84912" y="135498"/>
                    </a:cubicBezTo>
                    <a:cubicBezTo>
                      <a:pt x="88525" y="129175"/>
                      <a:pt x="86719" y="121045"/>
                      <a:pt x="80396" y="117432"/>
                    </a:cubicBezTo>
                    <a:lnTo>
                      <a:pt x="57813" y="104785"/>
                    </a:lnTo>
                    <a:cubicBezTo>
                      <a:pt x="70459" y="86719"/>
                      <a:pt x="85816" y="71362"/>
                      <a:pt x="103882" y="58716"/>
                    </a:cubicBezTo>
                    <a:lnTo>
                      <a:pt x="116529" y="81299"/>
                    </a:lnTo>
                    <a:cubicBezTo>
                      <a:pt x="119239" y="85816"/>
                      <a:pt x="123755" y="88525"/>
                      <a:pt x="128272" y="88525"/>
                    </a:cubicBezTo>
                    <a:cubicBezTo>
                      <a:pt x="130982" y="88525"/>
                      <a:pt x="132788" y="87622"/>
                      <a:pt x="134595" y="86719"/>
                    </a:cubicBezTo>
                    <a:cubicBezTo>
                      <a:pt x="140918" y="83105"/>
                      <a:pt x="143628" y="74976"/>
                      <a:pt x="139112" y="68652"/>
                    </a:cubicBezTo>
                    <a:lnTo>
                      <a:pt x="126465" y="46069"/>
                    </a:lnTo>
                    <a:cubicBezTo>
                      <a:pt x="145435" y="37036"/>
                      <a:pt x="167114" y="30713"/>
                      <a:pt x="188794" y="28906"/>
                    </a:cubicBezTo>
                    <a:lnTo>
                      <a:pt x="188794" y="55102"/>
                    </a:lnTo>
                    <a:cubicBezTo>
                      <a:pt x="188794" y="62329"/>
                      <a:pt x="195117" y="68652"/>
                      <a:pt x="202344" y="68652"/>
                    </a:cubicBezTo>
                    <a:cubicBezTo>
                      <a:pt x="209571" y="68652"/>
                      <a:pt x="215894" y="62329"/>
                      <a:pt x="215894" y="55102"/>
                    </a:cubicBezTo>
                    <a:lnTo>
                      <a:pt x="215894" y="28906"/>
                    </a:lnTo>
                    <a:cubicBezTo>
                      <a:pt x="238477" y="30713"/>
                      <a:pt x="259253" y="36133"/>
                      <a:pt x="278223" y="46069"/>
                    </a:cubicBezTo>
                    <a:lnTo>
                      <a:pt x="265577" y="68652"/>
                    </a:lnTo>
                    <a:cubicBezTo>
                      <a:pt x="261963" y="74976"/>
                      <a:pt x="263770" y="83105"/>
                      <a:pt x="270093" y="86719"/>
                    </a:cubicBezTo>
                    <a:cubicBezTo>
                      <a:pt x="271900" y="87622"/>
                      <a:pt x="274610" y="88525"/>
                      <a:pt x="276416" y="88525"/>
                    </a:cubicBezTo>
                    <a:cubicBezTo>
                      <a:pt x="280933" y="88525"/>
                      <a:pt x="285449" y="85816"/>
                      <a:pt x="288160" y="81299"/>
                    </a:cubicBezTo>
                    <a:lnTo>
                      <a:pt x="300806" y="58716"/>
                    </a:lnTo>
                    <a:cubicBezTo>
                      <a:pt x="318872" y="71362"/>
                      <a:pt x="334229" y="86719"/>
                      <a:pt x="346876" y="104785"/>
                    </a:cubicBezTo>
                    <a:lnTo>
                      <a:pt x="324293" y="117432"/>
                    </a:lnTo>
                    <a:cubicBezTo>
                      <a:pt x="317969" y="121045"/>
                      <a:pt x="315259" y="129175"/>
                      <a:pt x="319776" y="135498"/>
                    </a:cubicBezTo>
                    <a:cubicBezTo>
                      <a:pt x="322486" y="140015"/>
                      <a:pt x="327002" y="142725"/>
                      <a:pt x="331519" y="142725"/>
                    </a:cubicBezTo>
                    <a:cubicBezTo>
                      <a:pt x="334229" y="142725"/>
                      <a:pt x="336036" y="141821"/>
                      <a:pt x="337842" y="140918"/>
                    </a:cubicBezTo>
                    <a:lnTo>
                      <a:pt x="360425" y="128271"/>
                    </a:lnTo>
                    <a:cubicBezTo>
                      <a:pt x="369459" y="147241"/>
                      <a:pt x="375782" y="168921"/>
                      <a:pt x="377588" y="190601"/>
                    </a:cubicBezTo>
                    <a:lnTo>
                      <a:pt x="351392" y="190601"/>
                    </a:lnTo>
                    <a:cubicBezTo>
                      <a:pt x="344165" y="190601"/>
                      <a:pt x="337842" y="196924"/>
                      <a:pt x="337842" y="204150"/>
                    </a:cubicBezTo>
                    <a:cubicBezTo>
                      <a:pt x="337842" y="211377"/>
                      <a:pt x="344165" y="217700"/>
                      <a:pt x="351392" y="217700"/>
                    </a:cubicBezTo>
                    <a:lnTo>
                      <a:pt x="377588" y="217700"/>
                    </a:lnTo>
                    <a:cubicBezTo>
                      <a:pt x="375782" y="240283"/>
                      <a:pt x="370362" y="261060"/>
                      <a:pt x="360425" y="280030"/>
                    </a:cubicBezTo>
                    <a:lnTo>
                      <a:pt x="337842" y="267383"/>
                    </a:lnTo>
                    <a:cubicBezTo>
                      <a:pt x="331519" y="263769"/>
                      <a:pt x="323389" y="265576"/>
                      <a:pt x="319776" y="271900"/>
                    </a:cubicBezTo>
                    <a:cubicBezTo>
                      <a:pt x="316163" y="278223"/>
                      <a:pt x="317969" y="286352"/>
                      <a:pt x="324293" y="289966"/>
                    </a:cubicBezTo>
                    <a:lnTo>
                      <a:pt x="346876" y="302613"/>
                    </a:lnTo>
                    <a:cubicBezTo>
                      <a:pt x="336939" y="320679"/>
                      <a:pt x="320679" y="336035"/>
                      <a:pt x="303516" y="348682"/>
                    </a:cubicBezTo>
                    <a:lnTo>
                      <a:pt x="303516" y="34868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 name="Freeform 9">
                <a:extLst>
                  <a:ext uri="{FF2B5EF4-FFF2-40B4-BE49-F238E27FC236}">
                    <a16:creationId xmlns:a16="http://schemas.microsoft.com/office/drawing/2014/main" id="{77753D67-3E05-C6F6-0689-A07D233AFA6A}"/>
                  </a:ext>
                </a:extLst>
              </p:cNvPr>
              <p:cNvSpPr/>
              <p:nvPr/>
            </p:nvSpPr>
            <p:spPr>
              <a:xfrm>
                <a:off x="10799522" y="4177709"/>
                <a:ext cx="88977" cy="159888"/>
              </a:xfrm>
              <a:custGeom>
                <a:avLst/>
                <a:gdLst>
                  <a:gd name="connsiteX0" fmla="*/ 69556 w 88977"/>
                  <a:gd name="connsiteY0" fmla="*/ 121948 h 159888"/>
                  <a:gd name="connsiteX1" fmla="*/ 72266 w 88977"/>
                  <a:gd name="connsiteY1" fmla="*/ 108399 h 159888"/>
                  <a:gd name="connsiteX2" fmla="*/ 49683 w 88977"/>
                  <a:gd name="connsiteY2" fmla="*/ 74976 h 159888"/>
                  <a:gd name="connsiteX3" fmla="*/ 49683 w 88977"/>
                  <a:gd name="connsiteY3" fmla="*/ 13550 h 159888"/>
                  <a:gd name="connsiteX4" fmla="*/ 36133 w 88977"/>
                  <a:gd name="connsiteY4" fmla="*/ 0 h 159888"/>
                  <a:gd name="connsiteX5" fmla="*/ 22583 w 88977"/>
                  <a:gd name="connsiteY5" fmla="*/ 13550 h 159888"/>
                  <a:gd name="connsiteX6" fmla="*/ 22583 w 88977"/>
                  <a:gd name="connsiteY6" fmla="*/ 74976 h 159888"/>
                  <a:gd name="connsiteX7" fmla="*/ 0 w 88977"/>
                  <a:gd name="connsiteY7" fmla="*/ 108399 h 159888"/>
                  <a:gd name="connsiteX8" fmla="*/ 36133 w 88977"/>
                  <a:gd name="connsiteY8" fmla="*/ 144531 h 159888"/>
                  <a:gd name="connsiteX9" fmla="*/ 50586 w 88977"/>
                  <a:gd name="connsiteY9" fmla="*/ 141822 h 159888"/>
                  <a:gd name="connsiteX10" fmla="*/ 65039 w 88977"/>
                  <a:gd name="connsiteY10" fmla="*/ 156275 h 159888"/>
                  <a:gd name="connsiteX11" fmla="*/ 74976 w 88977"/>
                  <a:gd name="connsiteY11" fmla="*/ 159888 h 159888"/>
                  <a:gd name="connsiteX12" fmla="*/ 84912 w 88977"/>
                  <a:gd name="connsiteY12" fmla="*/ 156275 h 159888"/>
                  <a:gd name="connsiteX13" fmla="*/ 84912 w 88977"/>
                  <a:gd name="connsiteY13" fmla="*/ 137305 h 159888"/>
                  <a:gd name="connsiteX14" fmla="*/ 69556 w 88977"/>
                  <a:gd name="connsiteY14" fmla="*/ 121948 h 159888"/>
                  <a:gd name="connsiteX15" fmla="*/ 27100 w 88977"/>
                  <a:gd name="connsiteY15" fmla="*/ 107495 h 159888"/>
                  <a:gd name="connsiteX16" fmla="*/ 36133 w 88977"/>
                  <a:gd name="connsiteY16" fmla="*/ 98462 h 159888"/>
                  <a:gd name="connsiteX17" fmla="*/ 45166 w 88977"/>
                  <a:gd name="connsiteY17" fmla="*/ 107495 h 159888"/>
                  <a:gd name="connsiteX18" fmla="*/ 36133 w 88977"/>
                  <a:gd name="connsiteY18" fmla="*/ 116529 h 159888"/>
                  <a:gd name="connsiteX19" fmla="*/ 27100 w 88977"/>
                  <a:gd name="connsiteY19" fmla="*/ 107495 h 159888"/>
                  <a:gd name="connsiteX20" fmla="*/ 27100 w 88977"/>
                  <a:gd name="connsiteY20" fmla="*/ 107495 h 15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77" h="159888">
                    <a:moveTo>
                      <a:pt x="69556" y="121948"/>
                    </a:moveTo>
                    <a:cubicBezTo>
                      <a:pt x="71363" y="117432"/>
                      <a:pt x="72266" y="112915"/>
                      <a:pt x="72266" y="108399"/>
                    </a:cubicBezTo>
                    <a:cubicBezTo>
                      <a:pt x="72266" y="93042"/>
                      <a:pt x="63233" y="80396"/>
                      <a:pt x="49683" y="74976"/>
                    </a:cubicBezTo>
                    <a:lnTo>
                      <a:pt x="49683" y="13550"/>
                    </a:lnTo>
                    <a:cubicBezTo>
                      <a:pt x="49683" y="6323"/>
                      <a:pt x="43359" y="0"/>
                      <a:pt x="36133" y="0"/>
                    </a:cubicBezTo>
                    <a:cubicBezTo>
                      <a:pt x="28906" y="0"/>
                      <a:pt x="22583" y="6323"/>
                      <a:pt x="22583" y="13550"/>
                    </a:cubicBezTo>
                    <a:lnTo>
                      <a:pt x="22583" y="74976"/>
                    </a:lnTo>
                    <a:cubicBezTo>
                      <a:pt x="9033" y="80396"/>
                      <a:pt x="0" y="93042"/>
                      <a:pt x="0" y="108399"/>
                    </a:cubicBezTo>
                    <a:cubicBezTo>
                      <a:pt x="0" y="128272"/>
                      <a:pt x="16260" y="144531"/>
                      <a:pt x="36133" y="144531"/>
                    </a:cubicBezTo>
                    <a:cubicBezTo>
                      <a:pt x="41553" y="144531"/>
                      <a:pt x="46069" y="143628"/>
                      <a:pt x="50586" y="141822"/>
                    </a:cubicBezTo>
                    <a:lnTo>
                      <a:pt x="65039" y="156275"/>
                    </a:lnTo>
                    <a:cubicBezTo>
                      <a:pt x="67749" y="158984"/>
                      <a:pt x="71363" y="159888"/>
                      <a:pt x="74976" y="159888"/>
                    </a:cubicBezTo>
                    <a:cubicBezTo>
                      <a:pt x="78589" y="159888"/>
                      <a:pt x="82202" y="158984"/>
                      <a:pt x="84912" y="156275"/>
                    </a:cubicBezTo>
                    <a:cubicBezTo>
                      <a:pt x="90332" y="150855"/>
                      <a:pt x="90332" y="142725"/>
                      <a:pt x="84912" y="137305"/>
                    </a:cubicBezTo>
                    <a:lnTo>
                      <a:pt x="69556" y="121948"/>
                    </a:lnTo>
                    <a:close/>
                    <a:moveTo>
                      <a:pt x="27100" y="107495"/>
                    </a:moveTo>
                    <a:cubicBezTo>
                      <a:pt x="27100" y="102075"/>
                      <a:pt x="30713" y="98462"/>
                      <a:pt x="36133" y="98462"/>
                    </a:cubicBezTo>
                    <a:cubicBezTo>
                      <a:pt x="41553" y="98462"/>
                      <a:pt x="45166" y="102075"/>
                      <a:pt x="45166" y="107495"/>
                    </a:cubicBezTo>
                    <a:cubicBezTo>
                      <a:pt x="45166" y="112915"/>
                      <a:pt x="41553" y="116529"/>
                      <a:pt x="36133" y="116529"/>
                    </a:cubicBezTo>
                    <a:cubicBezTo>
                      <a:pt x="30713" y="116529"/>
                      <a:pt x="27100" y="112915"/>
                      <a:pt x="27100" y="107495"/>
                    </a:cubicBezTo>
                    <a:lnTo>
                      <a:pt x="27100" y="10749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11" name="Group 10">
            <a:extLst>
              <a:ext uri="{FF2B5EF4-FFF2-40B4-BE49-F238E27FC236}">
                <a16:creationId xmlns:a16="http://schemas.microsoft.com/office/drawing/2014/main" id="{2B36B10D-BEBC-437D-DDF2-F2AC9B147DC2}"/>
              </a:ext>
            </a:extLst>
          </p:cNvPr>
          <p:cNvGrpSpPr/>
          <p:nvPr/>
        </p:nvGrpSpPr>
        <p:grpSpPr>
          <a:xfrm>
            <a:off x="4524216" y="596176"/>
            <a:ext cx="771630" cy="770652"/>
            <a:chOff x="4583522" y="477429"/>
            <a:chExt cx="1285857" cy="1284227"/>
          </a:xfrm>
          <a:solidFill>
            <a:srgbClr val="595959"/>
          </a:solidFill>
        </p:grpSpPr>
        <p:grpSp>
          <p:nvGrpSpPr>
            <p:cNvPr id="12" name="Graphic 24">
              <a:extLst>
                <a:ext uri="{FF2B5EF4-FFF2-40B4-BE49-F238E27FC236}">
                  <a16:creationId xmlns:a16="http://schemas.microsoft.com/office/drawing/2014/main" id="{75ECD209-F7EE-58A5-C803-64DFC15F0E2C}"/>
                </a:ext>
              </a:extLst>
            </p:cNvPr>
            <p:cNvGrpSpPr/>
            <p:nvPr/>
          </p:nvGrpSpPr>
          <p:grpSpPr>
            <a:xfrm>
              <a:off x="5099909" y="1002440"/>
              <a:ext cx="720240" cy="720592"/>
              <a:chOff x="5098372" y="991465"/>
              <a:chExt cx="720240" cy="720592"/>
            </a:xfrm>
            <a:grpFill/>
          </p:grpSpPr>
          <p:sp>
            <p:nvSpPr>
              <p:cNvPr id="23" name="Freeform 22">
                <a:extLst>
                  <a:ext uri="{FF2B5EF4-FFF2-40B4-BE49-F238E27FC236}">
                    <a16:creationId xmlns:a16="http://schemas.microsoft.com/office/drawing/2014/main" id="{3417F6DB-145A-9B87-B65C-6B1FE5C08058}"/>
                  </a:ext>
                </a:extLst>
              </p:cNvPr>
              <p:cNvSpPr/>
              <p:nvPr/>
            </p:nvSpPr>
            <p:spPr>
              <a:xfrm>
                <a:off x="5427325" y="991465"/>
                <a:ext cx="391287" cy="390774"/>
              </a:xfrm>
              <a:custGeom>
                <a:avLst/>
                <a:gdLst>
                  <a:gd name="connsiteX0" fmla="*/ 114183 w 391287"/>
                  <a:gd name="connsiteY0" fmla="*/ 382826 h 390774"/>
                  <a:gd name="connsiteX1" fmla="*/ 154792 w 391287"/>
                  <a:gd name="connsiteY1" fmla="*/ 344223 h 390774"/>
                  <a:gd name="connsiteX2" fmla="*/ 165777 w 391287"/>
                  <a:gd name="connsiteY2" fmla="*/ 340562 h 390774"/>
                  <a:gd name="connsiteX3" fmla="*/ 252987 w 391287"/>
                  <a:gd name="connsiteY3" fmla="*/ 302957 h 390774"/>
                  <a:gd name="connsiteX4" fmla="*/ 310240 w 391287"/>
                  <a:gd name="connsiteY4" fmla="*/ 245052 h 390774"/>
                  <a:gd name="connsiteX5" fmla="*/ 251323 w 391287"/>
                  <a:gd name="connsiteY5" fmla="*/ 54698 h 390774"/>
                  <a:gd name="connsiteX6" fmla="*/ 146471 w 391287"/>
                  <a:gd name="connsiteY6" fmla="*/ 81654 h 390774"/>
                  <a:gd name="connsiteX7" fmla="*/ 81562 w 391287"/>
                  <a:gd name="connsiteY7" fmla="*/ 146214 h 390774"/>
                  <a:gd name="connsiteX8" fmla="*/ 50606 w 391287"/>
                  <a:gd name="connsiteY8" fmla="*/ 223754 h 390774"/>
                  <a:gd name="connsiteX9" fmla="*/ 43282 w 391287"/>
                  <a:gd name="connsiteY9" fmla="*/ 240726 h 390774"/>
                  <a:gd name="connsiteX10" fmla="*/ 8997 w 391287"/>
                  <a:gd name="connsiteY10" fmla="*/ 276667 h 390774"/>
                  <a:gd name="connsiteX11" fmla="*/ 676 w 391287"/>
                  <a:gd name="connsiteY11" fmla="*/ 211108 h 390774"/>
                  <a:gd name="connsiteX12" fmla="*/ 49940 w 391287"/>
                  <a:gd name="connsiteY12" fmla="*/ 105282 h 390774"/>
                  <a:gd name="connsiteX13" fmla="*/ 106860 w 391287"/>
                  <a:gd name="connsiteY13" fmla="*/ 48708 h 390774"/>
                  <a:gd name="connsiteX14" fmla="*/ 292265 w 391287"/>
                  <a:gd name="connsiteY14" fmla="*/ 14430 h 390774"/>
                  <a:gd name="connsiteX15" fmla="*/ 391126 w 391287"/>
                  <a:gd name="connsiteY15" fmla="*/ 174834 h 390774"/>
                  <a:gd name="connsiteX16" fmla="*/ 347854 w 391287"/>
                  <a:gd name="connsiteY16" fmla="*/ 278997 h 390774"/>
                  <a:gd name="connsiteX17" fmla="*/ 278618 w 391287"/>
                  <a:gd name="connsiteY17" fmla="*/ 347884 h 390774"/>
                  <a:gd name="connsiteX18" fmla="*/ 114183 w 391287"/>
                  <a:gd name="connsiteY18" fmla="*/ 382826 h 3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1287" h="390774">
                    <a:moveTo>
                      <a:pt x="114183" y="382826"/>
                    </a:moveTo>
                    <a:cubicBezTo>
                      <a:pt x="129162" y="368184"/>
                      <a:pt x="141810" y="355871"/>
                      <a:pt x="154792" y="344223"/>
                    </a:cubicBezTo>
                    <a:cubicBezTo>
                      <a:pt x="157455" y="341894"/>
                      <a:pt x="162115" y="340562"/>
                      <a:pt x="165777" y="340562"/>
                    </a:cubicBezTo>
                    <a:cubicBezTo>
                      <a:pt x="200062" y="339897"/>
                      <a:pt x="229021" y="327584"/>
                      <a:pt x="252987" y="302957"/>
                    </a:cubicBezTo>
                    <a:cubicBezTo>
                      <a:pt x="271961" y="283656"/>
                      <a:pt x="291933" y="265020"/>
                      <a:pt x="310240" y="245052"/>
                    </a:cubicBezTo>
                    <a:cubicBezTo>
                      <a:pt x="369823" y="179493"/>
                      <a:pt x="337535" y="75331"/>
                      <a:pt x="251323" y="54698"/>
                    </a:cubicBezTo>
                    <a:cubicBezTo>
                      <a:pt x="212045" y="45380"/>
                      <a:pt x="176428" y="54365"/>
                      <a:pt x="146471" y="81654"/>
                    </a:cubicBezTo>
                    <a:cubicBezTo>
                      <a:pt x="123836" y="102286"/>
                      <a:pt x="102865" y="124250"/>
                      <a:pt x="81562" y="146214"/>
                    </a:cubicBezTo>
                    <a:cubicBezTo>
                      <a:pt x="60924" y="167846"/>
                      <a:pt x="51937" y="194136"/>
                      <a:pt x="50606" y="223754"/>
                    </a:cubicBezTo>
                    <a:cubicBezTo>
                      <a:pt x="50273" y="229744"/>
                      <a:pt x="47277" y="236400"/>
                      <a:pt x="43282" y="240726"/>
                    </a:cubicBezTo>
                    <a:cubicBezTo>
                      <a:pt x="32964" y="252706"/>
                      <a:pt x="21646" y="263688"/>
                      <a:pt x="8997" y="276667"/>
                    </a:cubicBezTo>
                    <a:cubicBezTo>
                      <a:pt x="1009" y="253705"/>
                      <a:pt x="-1321" y="232739"/>
                      <a:pt x="676" y="211108"/>
                    </a:cubicBezTo>
                    <a:cubicBezTo>
                      <a:pt x="4337" y="170175"/>
                      <a:pt x="20648" y="134567"/>
                      <a:pt x="49940" y="105282"/>
                    </a:cubicBezTo>
                    <a:cubicBezTo>
                      <a:pt x="68913" y="86313"/>
                      <a:pt x="87554" y="67344"/>
                      <a:pt x="106860" y="48708"/>
                    </a:cubicBezTo>
                    <a:cubicBezTo>
                      <a:pt x="157122" y="-212"/>
                      <a:pt x="229021" y="-13524"/>
                      <a:pt x="292265" y="14430"/>
                    </a:cubicBezTo>
                    <a:cubicBezTo>
                      <a:pt x="355177" y="42052"/>
                      <a:pt x="394122" y="104616"/>
                      <a:pt x="391126" y="174834"/>
                    </a:cubicBezTo>
                    <a:cubicBezTo>
                      <a:pt x="389462" y="214769"/>
                      <a:pt x="375149" y="250044"/>
                      <a:pt x="347854" y="278997"/>
                    </a:cubicBezTo>
                    <a:cubicBezTo>
                      <a:pt x="325552" y="302625"/>
                      <a:pt x="302917" y="326253"/>
                      <a:pt x="278618" y="347884"/>
                    </a:cubicBezTo>
                    <a:cubicBezTo>
                      <a:pt x="232017" y="389482"/>
                      <a:pt x="177760" y="400131"/>
                      <a:pt x="114183" y="382826"/>
                    </a:cubicBezTo>
                    <a:close/>
                  </a:path>
                </a:pathLst>
              </a:custGeom>
              <a:solidFill>
                <a:srgbClr val="F16924"/>
              </a:solidFill>
              <a:ln w="3314"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119C3A7-0FA6-0776-6A0F-6A41F6F53063}"/>
                  </a:ext>
                </a:extLst>
              </p:cNvPr>
              <p:cNvSpPr/>
              <p:nvPr/>
            </p:nvSpPr>
            <p:spPr>
              <a:xfrm>
                <a:off x="5098372" y="1320880"/>
                <a:ext cx="391481" cy="391177"/>
              </a:xfrm>
              <a:custGeom>
                <a:avLst/>
                <a:gdLst>
                  <a:gd name="connsiteX0" fmla="*/ 383219 w 391481"/>
                  <a:gd name="connsiteY0" fmla="*/ 113646 h 391177"/>
                  <a:gd name="connsiteX1" fmla="*/ 354593 w 391481"/>
                  <a:gd name="connsiteY1" fmla="*/ 270056 h 391177"/>
                  <a:gd name="connsiteX2" fmla="*/ 271710 w 391481"/>
                  <a:gd name="connsiteY2" fmla="*/ 353586 h 391177"/>
                  <a:gd name="connsiteX3" fmla="*/ 45694 w 391481"/>
                  <a:gd name="connsiteY3" fmla="*/ 338611 h 391177"/>
                  <a:gd name="connsiteX4" fmla="*/ 43697 w 391481"/>
                  <a:gd name="connsiteY4" fmla="*/ 111982 h 391177"/>
                  <a:gd name="connsiteX5" fmla="*/ 113932 w 391481"/>
                  <a:gd name="connsiteY5" fmla="*/ 42097 h 391177"/>
                  <a:gd name="connsiteX6" fmla="*/ 276370 w 391481"/>
                  <a:gd name="connsiteY6" fmla="*/ 7820 h 391177"/>
                  <a:gd name="connsiteX7" fmla="*/ 235427 w 391481"/>
                  <a:gd name="connsiteY7" fmla="*/ 48420 h 391177"/>
                  <a:gd name="connsiteX8" fmla="*/ 224776 w 391481"/>
                  <a:gd name="connsiteY8" fmla="*/ 50749 h 391177"/>
                  <a:gd name="connsiteX9" fmla="*/ 142225 w 391481"/>
                  <a:gd name="connsiteY9" fmla="*/ 84694 h 391177"/>
                  <a:gd name="connsiteX10" fmla="*/ 84640 w 391481"/>
                  <a:gd name="connsiteY10" fmla="*/ 142266 h 391177"/>
                  <a:gd name="connsiteX11" fmla="*/ 84973 w 391481"/>
                  <a:gd name="connsiteY11" fmla="*/ 305997 h 391177"/>
                  <a:gd name="connsiteX12" fmla="*/ 248742 w 391481"/>
                  <a:gd name="connsiteY12" fmla="*/ 306663 h 391177"/>
                  <a:gd name="connsiteX13" fmla="*/ 306328 w 391481"/>
                  <a:gd name="connsiteY13" fmla="*/ 249091 h 391177"/>
                  <a:gd name="connsiteX14" fmla="*/ 340613 w 391481"/>
                  <a:gd name="connsiteY14" fmla="*/ 166559 h 391177"/>
                  <a:gd name="connsiteX15" fmla="*/ 344607 w 391481"/>
                  <a:gd name="connsiteY15" fmla="*/ 154246 h 391177"/>
                  <a:gd name="connsiteX16" fmla="*/ 383219 w 391481"/>
                  <a:gd name="connsiteY16" fmla="*/ 113646 h 39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1481" h="391177">
                    <a:moveTo>
                      <a:pt x="383219" y="113646"/>
                    </a:moveTo>
                    <a:cubicBezTo>
                      <a:pt x="399863" y="172882"/>
                      <a:pt x="391874" y="225130"/>
                      <a:pt x="354593" y="270056"/>
                    </a:cubicBezTo>
                    <a:cubicBezTo>
                      <a:pt x="329628" y="300007"/>
                      <a:pt x="301335" y="328294"/>
                      <a:pt x="271710" y="353586"/>
                    </a:cubicBezTo>
                    <a:cubicBezTo>
                      <a:pt x="205470" y="409494"/>
                      <a:pt x="105277" y="401840"/>
                      <a:pt x="45694" y="338611"/>
                    </a:cubicBezTo>
                    <a:cubicBezTo>
                      <a:pt x="-14221" y="275048"/>
                      <a:pt x="-15553" y="176543"/>
                      <a:pt x="43697" y="111982"/>
                    </a:cubicBezTo>
                    <a:cubicBezTo>
                      <a:pt x="65999" y="87689"/>
                      <a:pt x="89300" y="64061"/>
                      <a:pt x="113932" y="42097"/>
                    </a:cubicBezTo>
                    <a:cubicBezTo>
                      <a:pt x="160533" y="1164"/>
                      <a:pt x="214457" y="-9153"/>
                      <a:pt x="276370" y="7820"/>
                    </a:cubicBezTo>
                    <a:cubicBezTo>
                      <a:pt x="262057" y="22130"/>
                      <a:pt x="249075" y="35774"/>
                      <a:pt x="235427" y="48420"/>
                    </a:cubicBezTo>
                    <a:cubicBezTo>
                      <a:pt x="233097" y="50416"/>
                      <a:pt x="228437" y="50749"/>
                      <a:pt x="224776" y="50749"/>
                    </a:cubicBezTo>
                    <a:cubicBezTo>
                      <a:pt x="192821" y="51082"/>
                      <a:pt x="165193" y="62397"/>
                      <a:pt x="142225" y="84694"/>
                    </a:cubicBezTo>
                    <a:cubicBezTo>
                      <a:pt x="122919" y="103663"/>
                      <a:pt x="103280" y="122631"/>
                      <a:pt x="84640" y="142266"/>
                    </a:cubicBezTo>
                    <a:cubicBezTo>
                      <a:pt x="39370" y="189189"/>
                      <a:pt x="39703" y="260405"/>
                      <a:pt x="84973" y="305997"/>
                    </a:cubicBezTo>
                    <a:cubicBezTo>
                      <a:pt x="129576" y="351257"/>
                      <a:pt x="201475" y="351589"/>
                      <a:pt x="248742" y="306663"/>
                    </a:cubicBezTo>
                    <a:cubicBezTo>
                      <a:pt x="268381" y="288027"/>
                      <a:pt x="287354" y="268392"/>
                      <a:pt x="306328" y="249091"/>
                    </a:cubicBezTo>
                    <a:cubicBezTo>
                      <a:pt x="328630" y="226128"/>
                      <a:pt x="339614" y="198507"/>
                      <a:pt x="340613" y="166559"/>
                    </a:cubicBezTo>
                    <a:cubicBezTo>
                      <a:pt x="340613" y="162233"/>
                      <a:pt x="341944" y="157241"/>
                      <a:pt x="344607" y="154246"/>
                    </a:cubicBezTo>
                    <a:cubicBezTo>
                      <a:pt x="356257" y="140935"/>
                      <a:pt x="368906" y="128622"/>
                      <a:pt x="383219" y="113646"/>
                    </a:cubicBezTo>
                    <a:close/>
                  </a:path>
                </a:pathLst>
              </a:custGeom>
              <a:solidFill>
                <a:srgbClr val="F16924"/>
              </a:solidFill>
              <a:ln w="3314"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5FDF2B11-5B00-4C0F-6DDF-CA0E558DB91A}"/>
                  </a:ext>
                </a:extLst>
              </p:cNvPr>
              <p:cNvSpPr/>
              <p:nvPr/>
            </p:nvSpPr>
            <p:spPr>
              <a:xfrm>
                <a:off x="5330925" y="1222922"/>
                <a:ext cx="259181" cy="256678"/>
              </a:xfrm>
              <a:custGeom>
                <a:avLst/>
                <a:gdLst>
                  <a:gd name="connsiteX0" fmla="*/ 259181 w 259181"/>
                  <a:gd name="connsiteY0" fmla="*/ 23579 h 256678"/>
                  <a:gd name="connsiteX1" fmla="*/ 246865 w 259181"/>
                  <a:gd name="connsiteY1" fmla="*/ 45210 h 256678"/>
                  <a:gd name="connsiteX2" fmla="*/ 44816 w 259181"/>
                  <a:gd name="connsiteY2" fmla="*/ 247545 h 256678"/>
                  <a:gd name="connsiteX3" fmla="*/ 7868 w 259181"/>
                  <a:gd name="connsiteY3" fmla="*/ 249542 h 256678"/>
                  <a:gd name="connsiteX4" fmla="*/ 8867 w 259181"/>
                  <a:gd name="connsiteY4" fmla="*/ 211604 h 256678"/>
                  <a:gd name="connsiteX5" fmla="*/ 210916 w 259181"/>
                  <a:gd name="connsiteY5" fmla="*/ 9269 h 256678"/>
                  <a:gd name="connsiteX6" fmla="*/ 240541 w 259181"/>
                  <a:gd name="connsiteY6" fmla="*/ 2946 h 256678"/>
                  <a:gd name="connsiteX7" fmla="*/ 259181 w 259181"/>
                  <a:gd name="connsiteY7" fmla="*/ 23579 h 25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81" h="256678">
                    <a:moveTo>
                      <a:pt x="259181" y="23579"/>
                    </a:moveTo>
                    <a:cubicBezTo>
                      <a:pt x="254188" y="32897"/>
                      <a:pt x="251525" y="40219"/>
                      <a:pt x="246865" y="45210"/>
                    </a:cubicBezTo>
                    <a:cubicBezTo>
                      <a:pt x="179626" y="112766"/>
                      <a:pt x="112388" y="180322"/>
                      <a:pt x="44816" y="247545"/>
                    </a:cubicBezTo>
                    <a:cubicBezTo>
                      <a:pt x="33166" y="259193"/>
                      <a:pt x="18187" y="259526"/>
                      <a:pt x="7868" y="249542"/>
                    </a:cubicBezTo>
                    <a:cubicBezTo>
                      <a:pt x="-2784" y="239226"/>
                      <a:pt x="-2784" y="223585"/>
                      <a:pt x="8867" y="211604"/>
                    </a:cubicBezTo>
                    <a:cubicBezTo>
                      <a:pt x="76105" y="144048"/>
                      <a:pt x="143677" y="76825"/>
                      <a:pt x="210916" y="9269"/>
                    </a:cubicBezTo>
                    <a:cubicBezTo>
                      <a:pt x="219570" y="617"/>
                      <a:pt x="230222" y="-3044"/>
                      <a:pt x="240541" y="2946"/>
                    </a:cubicBezTo>
                    <a:cubicBezTo>
                      <a:pt x="247864" y="7605"/>
                      <a:pt x="252857" y="16258"/>
                      <a:pt x="259181" y="23579"/>
                    </a:cubicBezTo>
                    <a:close/>
                  </a:path>
                </a:pathLst>
              </a:custGeom>
              <a:solidFill>
                <a:srgbClr val="F16924"/>
              </a:solidFill>
              <a:ln w="3314" cap="flat">
                <a:noFill/>
                <a:prstDash val="solid"/>
                <a:miter/>
              </a:ln>
            </p:spPr>
            <p:txBody>
              <a:bodyPr rtlCol="0" anchor="ctr"/>
              <a:lstStyle/>
              <a:p>
                <a:endParaRPr lang="en-US"/>
              </a:p>
            </p:txBody>
          </p:sp>
        </p:grpSp>
        <p:grpSp>
          <p:nvGrpSpPr>
            <p:cNvPr id="13" name="Graphic 24">
              <a:extLst>
                <a:ext uri="{FF2B5EF4-FFF2-40B4-BE49-F238E27FC236}">
                  <a16:creationId xmlns:a16="http://schemas.microsoft.com/office/drawing/2014/main" id="{32B12CC2-1C4D-1EBB-C908-D1F644950324}"/>
                </a:ext>
              </a:extLst>
            </p:cNvPr>
            <p:cNvGrpSpPr/>
            <p:nvPr/>
          </p:nvGrpSpPr>
          <p:grpSpPr>
            <a:xfrm>
              <a:off x="4583522" y="477429"/>
              <a:ext cx="1285857" cy="1284227"/>
              <a:chOff x="4583522" y="477429"/>
              <a:chExt cx="1285857" cy="1284227"/>
            </a:xfrm>
            <a:grpFill/>
          </p:grpSpPr>
          <p:sp>
            <p:nvSpPr>
              <p:cNvPr id="14" name="Freeform 13">
                <a:extLst>
                  <a:ext uri="{FF2B5EF4-FFF2-40B4-BE49-F238E27FC236}">
                    <a16:creationId xmlns:a16="http://schemas.microsoft.com/office/drawing/2014/main" id="{EF4326B1-18B3-6F48-1601-DEB2685FD299}"/>
                  </a:ext>
                </a:extLst>
              </p:cNvPr>
              <p:cNvSpPr/>
              <p:nvPr/>
            </p:nvSpPr>
            <p:spPr>
              <a:xfrm>
                <a:off x="4583522" y="477429"/>
                <a:ext cx="1285857" cy="1284227"/>
              </a:xfrm>
              <a:custGeom>
                <a:avLst/>
                <a:gdLst>
                  <a:gd name="connsiteX0" fmla="*/ 666 w 1285857"/>
                  <a:gd name="connsiteY0" fmla="*/ 677223 h 1284227"/>
                  <a:gd name="connsiteX1" fmla="*/ 6324 w 1285857"/>
                  <a:gd name="connsiteY1" fmla="*/ 669236 h 1284227"/>
                  <a:gd name="connsiteX2" fmla="*/ 32288 w 1285857"/>
                  <a:gd name="connsiteY2" fmla="*/ 660584 h 1284227"/>
                  <a:gd name="connsiteX3" fmla="*/ 50595 w 1285857"/>
                  <a:gd name="connsiteY3" fmla="*/ 680884 h 1284227"/>
                  <a:gd name="connsiteX4" fmla="*/ 50928 w 1285857"/>
                  <a:gd name="connsiteY4" fmla="*/ 694528 h 1284227"/>
                  <a:gd name="connsiteX5" fmla="*/ 50928 w 1285857"/>
                  <a:gd name="connsiteY5" fmla="*/ 1099531 h 1284227"/>
                  <a:gd name="connsiteX6" fmla="*/ 85546 w 1285857"/>
                  <a:gd name="connsiteY6" fmla="*/ 1133808 h 1284227"/>
                  <a:gd name="connsiteX7" fmla="*/ 460685 w 1285857"/>
                  <a:gd name="connsiteY7" fmla="*/ 1133808 h 1284227"/>
                  <a:gd name="connsiteX8" fmla="*/ 475331 w 1285857"/>
                  <a:gd name="connsiteY8" fmla="*/ 1133808 h 1284227"/>
                  <a:gd name="connsiteX9" fmla="*/ 563540 w 1285857"/>
                  <a:gd name="connsiteY9" fmla="*/ 880556 h 1284227"/>
                  <a:gd name="connsiteX10" fmla="*/ 561543 w 1285857"/>
                  <a:gd name="connsiteY10" fmla="*/ 877894 h 1284227"/>
                  <a:gd name="connsiteX11" fmla="*/ 520934 w 1285857"/>
                  <a:gd name="connsiteY11" fmla="*/ 877894 h 1284227"/>
                  <a:gd name="connsiteX12" fmla="*/ 490643 w 1285857"/>
                  <a:gd name="connsiteY12" fmla="*/ 852270 h 1284227"/>
                  <a:gd name="connsiteX13" fmla="*/ 520934 w 1285857"/>
                  <a:gd name="connsiteY13" fmla="*/ 827643 h 1284227"/>
                  <a:gd name="connsiteX14" fmla="*/ 612471 w 1285857"/>
                  <a:gd name="connsiteY14" fmla="*/ 827643 h 1284227"/>
                  <a:gd name="connsiteX15" fmla="*/ 626785 w 1285857"/>
                  <a:gd name="connsiteY15" fmla="*/ 824648 h 1284227"/>
                  <a:gd name="connsiteX16" fmla="*/ 796878 w 1285857"/>
                  <a:gd name="connsiteY16" fmla="*/ 800687 h 1284227"/>
                  <a:gd name="connsiteX17" fmla="*/ 802537 w 1285857"/>
                  <a:gd name="connsiteY17" fmla="*/ 801686 h 1284227"/>
                  <a:gd name="connsiteX18" fmla="*/ 796213 w 1285857"/>
                  <a:gd name="connsiteY18" fmla="*/ 765745 h 1284227"/>
                  <a:gd name="connsiteX19" fmla="*/ 859124 w 1285857"/>
                  <a:gd name="connsiteY19" fmla="*/ 584375 h 1284227"/>
                  <a:gd name="connsiteX20" fmla="*/ 884755 w 1285857"/>
                  <a:gd name="connsiteY20" fmla="*/ 521478 h 1284227"/>
                  <a:gd name="connsiteX21" fmla="*/ 884089 w 1285857"/>
                  <a:gd name="connsiteY21" fmla="*/ 85194 h 1284227"/>
                  <a:gd name="connsiteX22" fmla="*/ 849138 w 1285857"/>
                  <a:gd name="connsiteY22" fmla="*/ 50251 h 1284227"/>
                  <a:gd name="connsiteX23" fmla="*/ 287262 w 1285857"/>
                  <a:gd name="connsiteY23" fmla="*/ 50251 h 1284227"/>
                  <a:gd name="connsiteX24" fmla="*/ 271951 w 1285857"/>
                  <a:gd name="connsiteY24" fmla="*/ 50251 h 1284227"/>
                  <a:gd name="connsiteX25" fmla="*/ 271951 w 1285857"/>
                  <a:gd name="connsiteY25" fmla="*/ 64228 h 1284227"/>
                  <a:gd name="connsiteX26" fmla="*/ 271951 w 1285857"/>
                  <a:gd name="connsiteY26" fmla="*/ 194681 h 1284227"/>
                  <a:gd name="connsiteX27" fmla="*/ 195725 w 1285857"/>
                  <a:gd name="connsiteY27" fmla="*/ 270889 h 1284227"/>
                  <a:gd name="connsiteX28" fmla="*/ 51261 w 1285857"/>
                  <a:gd name="connsiteY28" fmla="*/ 270889 h 1284227"/>
                  <a:gd name="connsiteX29" fmla="*/ 51261 w 1285857"/>
                  <a:gd name="connsiteY29" fmla="*/ 284866 h 1284227"/>
                  <a:gd name="connsiteX30" fmla="*/ 51261 w 1285857"/>
                  <a:gd name="connsiteY30" fmla="*/ 450262 h 1284227"/>
                  <a:gd name="connsiteX31" fmla="*/ 32621 w 1285857"/>
                  <a:gd name="connsiteY31" fmla="*/ 483208 h 1284227"/>
                  <a:gd name="connsiteX32" fmla="*/ 999 w 1285857"/>
                  <a:gd name="connsiteY32" fmla="*/ 466568 h 1284227"/>
                  <a:gd name="connsiteX33" fmla="*/ 999 w 1285857"/>
                  <a:gd name="connsiteY33" fmla="*/ 238276 h 1284227"/>
                  <a:gd name="connsiteX34" fmla="*/ 16976 w 1285857"/>
                  <a:gd name="connsiteY34" fmla="*/ 219307 h 1284227"/>
                  <a:gd name="connsiteX35" fmla="*/ 220357 w 1285857"/>
                  <a:gd name="connsiteY35" fmla="*/ 15974 h 1284227"/>
                  <a:gd name="connsiteX36" fmla="*/ 239330 w 1285857"/>
                  <a:gd name="connsiteY36" fmla="*/ 0 h 1284227"/>
                  <a:gd name="connsiteX37" fmla="*/ 871773 w 1285857"/>
                  <a:gd name="connsiteY37" fmla="*/ 0 h 1284227"/>
                  <a:gd name="connsiteX38" fmla="*/ 934352 w 1285857"/>
                  <a:gd name="connsiteY38" fmla="*/ 92182 h 1284227"/>
                  <a:gd name="connsiteX39" fmla="*/ 934352 w 1285857"/>
                  <a:gd name="connsiteY39" fmla="*/ 494855 h 1284227"/>
                  <a:gd name="connsiteX40" fmla="*/ 934352 w 1285857"/>
                  <a:gd name="connsiteY40" fmla="*/ 509831 h 1284227"/>
                  <a:gd name="connsiteX41" fmla="*/ 944338 w 1285857"/>
                  <a:gd name="connsiteY41" fmla="*/ 502842 h 1284227"/>
                  <a:gd name="connsiteX42" fmla="*/ 1279533 w 1285857"/>
                  <a:gd name="connsiteY42" fmla="*/ 629302 h 1284227"/>
                  <a:gd name="connsiteX43" fmla="*/ 1285857 w 1285857"/>
                  <a:gd name="connsiteY43" fmla="*/ 656923 h 1284227"/>
                  <a:gd name="connsiteX44" fmla="*/ 1285857 w 1285857"/>
                  <a:gd name="connsiteY44" fmla="*/ 704512 h 1284227"/>
                  <a:gd name="connsiteX45" fmla="*/ 1283527 w 1285857"/>
                  <a:gd name="connsiteY45" fmla="*/ 711500 h 1284227"/>
                  <a:gd name="connsiteX46" fmla="*/ 1226940 w 1285857"/>
                  <a:gd name="connsiteY46" fmla="*/ 829307 h 1284227"/>
                  <a:gd name="connsiteX47" fmla="*/ 1159368 w 1285857"/>
                  <a:gd name="connsiteY47" fmla="*/ 896530 h 1284227"/>
                  <a:gd name="connsiteX48" fmla="*/ 986611 w 1285857"/>
                  <a:gd name="connsiteY48" fmla="*/ 953437 h 1284227"/>
                  <a:gd name="connsiteX49" fmla="*/ 948665 w 1285857"/>
                  <a:gd name="connsiteY49" fmla="*/ 947114 h 1284227"/>
                  <a:gd name="connsiteX50" fmla="*/ 947999 w 1285857"/>
                  <a:gd name="connsiteY50" fmla="*/ 949443 h 1284227"/>
                  <a:gd name="connsiteX51" fmla="*/ 949664 w 1285857"/>
                  <a:gd name="connsiteY51" fmla="*/ 956765 h 1284227"/>
                  <a:gd name="connsiteX52" fmla="*/ 902397 w 1285857"/>
                  <a:gd name="connsiteY52" fmla="*/ 1152111 h 1284227"/>
                  <a:gd name="connsiteX53" fmla="*/ 824173 w 1285857"/>
                  <a:gd name="connsiteY53" fmla="*/ 1229984 h 1284227"/>
                  <a:gd name="connsiteX54" fmla="*/ 761595 w 1285857"/>
                  <a:gd name="connsiteY54" fmla="*/ 1268254 h 1284227"/>
                  <a:gd name="connsiteX55" fmla="*/ 705341 w 1285857"/>
                  <a:gd name="connsiteY55" fmla="*/ 1284228 h 1284227"/>
                  <a:gd name="connsiteX56" fmla="*/ 657741 w 1285857"/>
                  <a:gd name="connsiteY56" fmla="*/ 1284228 h 1284227"/>
                  <a:gd name="connsiteX57" fmla="*/ 650751 w 1285857"/>
                  <a:gd name="connsiteY57" fmla="*/ 1281898 h 1284227"/>
                  <a:gd name="connsiteX58" fmla="*/ 505955 w 1285857"/>
                  <a:gd name="connsiteY58" fmla="*/ 1194375 h 1284227"/>
                  <a:gd name="connsiteX59" fmla="*/ 484318 w 1285857"/>
                  <a:gd name="connsiteY59" fmla="*/ 1183726 h 1284227"/>
                  <a:gd name="connsiteX60" fmla="*/ 80886 w 1285857"/>
                  <a:gd name="connsiteY60" fmla="*/ 1184059 h 1284227"/>
                  <a:gd name="connsiteX61" fmla="*/ 1997 w 1285857"/>
                  <a:gd name="connsiteY61" fmla="*/ 1125821 h 1284227"/>
                  <a:gd name="connsiteX62" fmla="*/ 0 w 1285857"/>
                  <a:gd name="connsiteY62" fmla="*/ 1121162 h 1284227"/>
                  <a:gd name="connsiteX63" fmla="*/ 666 w 1285857"/>
                  <a:gd name="connsiteY63" fmla="*/ 677223 h 1284227"/>
                  <a:gd name="connsiteX64" fmla="*/ 957985 w 1285857"/>
                  <a:gd name="connsiteY64" fmla="*/ 896863 h 1284227"/>
                  <a:gd name="connsiteX65" fmla="*/ 1122753 w 1285857"/>
                  <a:gd name="connsiteY65" fmla="*/ 862253 h 1284227"/>
                  <a:gd name="connsiteX66" fmla="*/ 1191989 w 1285857"/>
                  <a:gd name="connsiteY66" fmla="*/ 793366 h 1284227"/>
                  <a:gd name="connsiteX67" fmla="*/ 1235262 w 1285857"/>
                  <a:gd name="connsiteY67" fmla="*/ 689204 h 1284227"/>
                  <a:gd name="connsiteX68" fmla="*/ 1136401 w 1285857"/>
                  <a:gd name="connsiteY68" fmla="*/ 528800 h 1284227"/>
                  <a:gd name="connsiteX69" fmla="*/ 950995 w 1285857"/>
                  <a:gd name="connsiteY69" fmla="*/ 563077 h 1284227"/>
                  <a:gd name="connsiteX70" fmla="*/ 894075 w 1285857"/>
                  <a:gd name="connsiteY70" fmla="*/ 619651 h 1284227"/>
                  <a:gd name="connsiteX71" fmla="*/ 844811 w 1285857"/>
                  <a:gd name="connsiteY71" fmla="*/ 725477 h 1284227"/>
                  <a:gd name="connsiteX72" fmla="*/ 853133 w 1285857"/>
                  <a:gd name="connsiteY72" fmla="*/ 791036 h 1284227"/>
                  <a:gd name="connsiteX73" fmla="*/ 887418 w 1285857"/>
                  <a:gd name="connsiteY73" fmla="*/ 755095 h 1284227"/>
                  <a:gd name="connsiteX74" fmla="*/ 894741 w 1285857"/>
                  <a:gd name="connsiteY74" fmla="*/ 738123 h 1284227"/>
                  <a:gd name="connsiteX75" fmla="*/ 925697 w 1285857"/>
                  <a:gd name="connsiteY75" fmla="*/ 660584 h 1284227"/>
                  <a:gd name="connsiteX76" fmla="*/ 990606 w 1285857"/>
                  <a:gd name="connsiteY76" fmla="*/ 596023 h 1284227"/>
                  <a:gd name="connsiteX77" fmla="*/ 1095458 w 1285857"/>
                  <a:gd name="connsiteY77" fmla="*/ 569067 h 1284227"/>
                  <a:gd name="connsiteX78" fmla="*/ 1154375 w 1285857"/>
                  <a:gd name="connsiteY78" fmla="*/ 759422 h 1284227"/>
                  <a:gd name="connsiteX79" fmla="*/ 1097123 w 1285857"/>
                  <a:gd name="connsiteY79" fmla="*/ 817327 h 1284227"/>
                  <a:gd name="connsiteX80" fmla="*/ 1009912 w 1285857"/>
                  <a:gd name="connsiteY80" fmla="*/ 854932 h 1284227"/>
                  <a:gd name="connsiteX81" fmla="*/ 998928 w 1285857"/>
                  <a:gd name="connsiteY81" fmla="*/ 858592 h 1284227"/>
                  <a:gd name="connsiteX82" fmla="*/ 957985 w 1285857"/>
                  <a:gd name="connsiteY82" fmla="*/ 896863 h 1284227"/>
                  <a:gd name="connsiteX83" fmla="*/ 898069 w 1285857"/>
                  <a:gd name="connsiteY83" fmla="*/ 957098 h 1284227"/>
                  <a:gd name="connsiteX84" fmla="*/ 859457 w 1285857"/>
                  <a:gd name="connsiteY84" fmla="*/ 997365 h 1284227"/>
                  <a:gd name="connsiteX85" fmla="*/ 855463 w 1285857"/>
                  <a:gd name="connsiteY85" fmla="*/ 1009678 h 1284227"/>
                  <a:gd name="connsiteX86" fmla="*/ 821178 w 1285857"/>
                  <a:gd name="connsiteY86" fmla="*/ 1092209 h 1284227"/>
                  <a:gd name="connsiteX87" fmla="*/ 763592 w 1285857"/>
                  <a:gd name="connsiteY87" fmla="*/ 1149782 h 1284227"/>
                  <a:gd name="connsiteX88" fmla="*/ 599823 w 1285857"/>
                  <a:gd name="connsiteY88" fmla="*/ 1149116 h 1284227"/>
                  <a:gd name="connsiteX89" fmla="*/ 599490 w 1285857"/>
                  <a:gd name="connsiteY89" fmla="*/ 985385 h 1284227"/>
                  <a:gd name="connsiteX90" fmla="*/ 657075 w 1285857"/>
                  <a:gd name="connsiteY90" fmla="*/ 927812 h 1284227"/>
                  <a:gd name="connsiteX91" fmla="*/ 739626 w 1285857"/>
                  <a:gd name="connsiteY91" fmla="*/ 893868 h 1284227"/>
                  <a:gd name="connsiteX92" fmla="*/ 750277 w 1285857"/>
                  <a:gd name="connsiteY92" fmla="*/ 891538 h 1284227"/>
                  <a:gd name="connsiteX93" fmla="*/ 791220 w 1285857"/>
                  <a:gd name="connsiteY93" fmla="*/ 850938 h 1284227"/>
                  <a:gd name="connsiteX94" fmla="*/ 628782 w 1285857"/>
                  <a:gd name="connsiteY94" fmla="*/ 885215 h 1284227"/>
                  <a:gd name="connsiteX95" fmla="*/ 558547 w 1285857"/>
                  <a:gd name="connsiteY95" fmla="*/ 955101 h 1284227"/>
                  <a:gd name="connsiteX96" fmla="*/ 560544 w 1285857"/>
                  <a:gd name="connsiteY96" fmla="*/ 1181729 h 1284227"/>
                  <a:gd name="connsiteX97" fmla="*/ 786560 w 1285857"/>
                  <a:gd name="connsiteY97" fmla="*/ 1196705 h 1284227"/>
                  <a:gd name="connsiteX98" fmla="*/ 869443 w 1285857"/>
                  <a:gd name="connsiteY98" fmla="*/ 1113175 h 1284227"/>
                  <a:gd name="connsiteX99" fmla="*/ 898069 w 1285857"/>
                  <a:gd name="connsiteY99" fmla="*/ 957098 h 1284227"/>
                  <a:gd name="connsiteX100" fmla="*/ 1006583 w 1285857"/>
                  <a:gd name="connsiteY100" fmla="*/ 769073 h 1284227"/>
                  <a:gd name="connsiteX101" fmla="*/ 987943 w 1285857"/>
                  <a:gd name="connsiteY101" fmla="*/ 748440 h 1284227"/>
                  <a:gd name="connsiteX102" fmla="*/ 958318 w 1285857"/>
                  <a:gd name="connsiteY102" fmla="*/ 754763 h 1284227"/>
                  <a:gd name="connsiteX103" fmla="*/ 756269 w 1285857"/>
                  <a:gd name="connsiteY103" fmla="*/ 957098 h 1284227"/>
                  <a:gd name="connsiteX104" fmla="*/ 755270 w 1285857"/>
                  <a:gd name="connsiteY104" fmla="*/ 995035 h 1284227"/>
                  <a:gd name="connsiteX105" fmla="*/ 792218 w 1285857"/>
                  <a:gd name="connsiteY105" fmla="*/ 993039 h 1284227"/>
                  <a:gd name="connsiteX106" fmla="*/ 994267 w 1285857"/>
                  <a:gd name="connsiteY106" fmla="*/ 790704 h 1284227"/>
                  <a:gd name="connsiteX107" fmla="*/ 1006583 w 1285857"/>
                  <a:gd name="connsiteY107" fmla="*/ 769073 h 1284227"/>
                  <a:gd name="connsiteX108" fmla="*/ 1053184 w 1285857"/>
                  <a:gd name="connsiteY108" fmla="*/ 788041 h 1284227"/>
                  <a:gd name="connsiteX109" fmla="*/ 1059509 w 1285857"/>
                  <a:gd name="connsiteY109" fmla="*/ 783382 h 1284227"/>
                  <a:gd name="connsiteX110" fmla="*/ 1115097 w 1285857"/>
                  <a:gd name="connsiteY110" fmla="*/ 727474 h 1284227"/>
                  <a:gd name="connsiteX111" fmla="*/ 1114432 w 1285857"/>
                  <a:gd name="connsiteY111" fmla="*/ 633961 h 1284227"/>
                  <a:gd name="connsiteX112" fmla="*/ 1020897 w 1285857"/>
                  <a:gd name="connsiteY112" fmla="*/ 634959 h 1284227"/>
                  <a:gd name="connsiteX113" fmla="*/ 981951 w 1285857"/>
                  <a:gd name="connsiteY113" fmla="*/ 673895 h 1284227"/>
                  <a:gd name="connsiteX114" fmla="*/ 959982 w 1285857"/>
                  <a:gd name="connsiteY114" fmla="*/ 696192 h 1284227"/>
                  <a:gd name="connsiteX115" fmla="*/ 1053184 w 1285857"/>
                  <a:gd name="connsiteY115" fmla="*/ 788041 h 1284227"/>
                  <a:gd name="connsiteX116" fmla="*/ 697685 w 1285857"/>
                  <a:gd name="connsiteY116" fmla="*/ 960426 h 1284227"/>
                  <a:gd name="connsiteX117" fmla="*/ 690695 w 1285857"/>
                  <a:gd name="connsiteY117" fmla="*/ 965750 h 1284227"/>
                  <a:gd name="connsiteX118" fmla="*/ 635772 w 1285857"/>
                  <a:gd name="connsiteY118" fmla="*/ 1020660 h 1284227"/>
                  <a:gd name="connsiteX119" fmla="*/ 635106 w 1285857"/>
                  <a:gd name="connsiteY119" fmla="*/ 1113175 h 1284227"/>
                  <a:gd name="connsiteX120" fmla="*/ 728641 w 1285857"/>
                  <a:gd name="connsiteY120" fmla="*/ 1113841 h 1284227"/>
                  <a:gd name="connsiteX121" fmla="*/ 783564 w 1285857"/>
                  <a:gd name="connsiteY121" fmla="*/ 1058931 h 1284227"/>
                  <a:gd name="connsiteX122" fmla="*/ 789223 w 1285857"/>
                  <a:gd name="connsiteY122" fmla="*/ 1051942 h 1284227"/>
                  <a:gd name="connsiteX123" fmla="*/ 697685 w 1285857"/>
                  <a:gd name="connsiteY123" fmla="*/ 960426 h 1284227"/>
                  <a:gd name="connsiteX124" fmla="*/ 90206 w 1285857"/>
                  <a:gd name="connsiteY124" fmla="*/ 220638 h 1284227"/>
                  <a:gd name="connsiteX125" fmla="*/ 198387 w 1285857"/>
                  <a:gd name="connsiteY125" fmla="*/ 220638 h 1284227"/>
                  <a:gd name="connsiteX126" fmla="*/ 221688 w 1285857"/>
                  <a:gd name="connsiteY126" fmla="*/ 197010 h 1284227"/>
                  <a:gd name="connsiteX127" fmla="*/ 221688 w 1285857"/>
                  <a:gd name="connsiteY127" fmla="*/ 135777 h 1284227"/>
                  <a:gd name="connsiteX128" fmla="*/ 221688 w 1285857"/>
                  <a:gd name="connsiteY128" fmla="*/ 88854 h 1284227"/>
                  <a:gd name="connsiteX129" fmla="*/ 90206 w 1285857"/>
                  <a:gd name="connsiteY129" fmla="*/ 220638 h 1284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285857" h="1284227">
                    <a:moveTo>
                      <a:pt x="666" y="677223"/>
                    </a:moveTo>
                    <a:cubicBezTo>
                      <a:pt x="2663" y="674561"/>
                      <a:pt x="4327" y="671566"/>
                      <a:pt x="6324" y="669236"/>
                    </a:cubicBezTo>
                    <a:cubicBezTo>
                      <a:pt x="13315" y="661249"/>
                      <a:pt x="21969" y="657921"/>
                      <a:pt x="32288" y="660584"/>
                    </a:cubicBezTo>
                    <a:cubicBezTo>
                      <a:pt x="42274" y="663246"/>
                      <a:pt x="48598" y="670567"/>
                      <a:pt x="50595" y="680884"/>
                    </a:cubicBezTo>
                    <a:cubicBezTo>
                      <a:pt x="51261" y="685210"/>
                      <a:pt x="50928" y="690202"/>
                      <a:pt x="50928" y="694528"/>
                    </a:cubicBezTo>
                    <a:cubicBezTo>
                      <a:pt x="50928" y="829640"/>
                      <a:pt x="50928" y="964419"/>
                      <a:pt x="50928" y="1099531"/>
                    </a:cubicBezTo>
                    <a:cubicBezTo>
                      <a:pt x="50928" y="1126154"/>
                      <a:pt x="58584" y="1133808"/>
                      <a:pt x="85546" y="1133808"/>
                    </a:cubicBezTo>
                    <a:cubicBezTo>
                      <a:pt x="210703" y="1133808"/>
                      <a:pt x="335528" y="1133808"/>
                      <a:pt x="460685" y="1133808"/>
                    </a:cubicBezTo>
                    <a:cubicBezTo>
                      <a:pt x="465345" y="1133808"/>
                      <a:pt x="469672" y="1133808"/>
                      <a:pt x="475331" y="1133808"/>
                    </a:cubicBezTo>
                    <a:cubicBezTo>
                      <a:pt x="446372" y="1028980"/>
                      <a:pt x="482987" y="947114"/>
                      <a:pt x="563540" y="880556"/>
                    </a:cubicBezTo>
                    <a:cubicBezTo>
                      <a:pt x="562875" y="879558"/>
                      <a:pt x="562209" y="878893"/>
                      <a:pt x="561543" y="877894"/>
                    </a:cubicBezTo>
                    <a:cubicBezTo>
                      <a:pt x="547896" y="877894"/>
                      <a:pt x="534581" y="877894"/>
                      <a:pt x="520934" y="877894"/>
                    </a:cubicBezTo>
                    <a:cubicBezTo>
                      <a:pt x="501960" y="877894"/>
                      <a:pt x="489977" y="867578"/>
                      <a:pt x="490643" y="852270"/>
                    </a:cubicBezTo>
                    <a:cubicBezTo>
                      <a:pt x="490976" y="837294"/>
                      <a:pt x="502626" y="827643"/>
                      <a:pt x="520934" y="827643"/>
                    </a:cubicBezTo>
                    <a:cubicBezTo>
                      <a:pt x="551557" y="827643"/>
                      <a:pt x="581848" y="827643"/>
                      <a:pt x="612471" y="827643"/>
                    </a:cubicBezTo>
                    <a:cubicBezTo>
                      <a:pt x="617131" y="827643"/>
                      <a:pt x="622790" y="826978"/>
                      <a:pt x="626785" y="824648"/>
                    </a:cubicBezTo>
                    <a:cubicBezTo>
                      <a:pt x="680376" y="793366"/>
                      <a:pt x="736963" y="785379"/>
                      <a:pt x="796878" y="800687"/>
                    </a:cubicBezTo>
                    <a:cubicBezTo>
                      <a:pt x="798543" y="801020"/>
                      <a:pt x="799874" y="801353"/>
                      <a:pt x="802537" y="801686"/>
                    </a:cubicBezTo>
                    <a:cubicBezTo>
                      <a:pt x="800207" y="789373"/>
                      <a:pt x="797544" y="777725"/>
                      <a:pt x="796213" y="765745"/>
                    </a:cubicBezTo>
                    <a:cubicBezTo>
                      <a:pt x="787891" y="695194"/>
                      <a:pt x="808529" y="633961"/>
                      <a:pt x="859124" y="584375"/>
                    </a:cubicBezTo>
                    <a:cubicBezTo>
                      <a:pt x="878098" y="565739"/>
                      <a:pt x="885088" y="547769"/>
                      <a:pt x="884755" y="521478"/>
                    </a:cubicBezTo>
                    <a:cubicBezTo>
                      <a:pt x="883423" y="376050"/>
                      <a:pt x="884089" y="230622"/>
                      <a:pt x="884089" y="85194"/>
                    </a:cubicBezTo>
                    <a:cubicBezTo>
                      <a:pt x="884089" y="57905"/>
                      <a:pt x="876433" y="50251"/>
                      <a:pt x="849138" y="50251"/>
                    </a:cubicBezTo>
                    <a:cubicBezTo>
                      <a:pt x="661735" y="50251"/>
                      <a:pt x="474665" y="50251"/>
                      <a:pt x="287262" y="50251"/>
                    </a:cubicBezTo>
                    <a:cubicBezTo>
                      <a:pt x="282602" y="50251"/>
                      <a:pt x="278275" y="50251"/>
                      <a:pt x="271951" y="50251"/>
                    </a:cubicBezTo>
                    <a:cubicBezTo>
                      <a:pt x="271951" y="55576"/>
                      <a:pt x="271951" y="59902"/>
                      <a:pt x="271951" y="64228"/>
                    </a:cubicBezTo>
                    <a:cubicBezTo>
                      <a:pt x="271951" y="107823"/>
                      <a:pt x="271951" y="151086"/>
                      <a:pt x="271951" y="194681"/>
                    </a:cubicBezTo>
                    <a:cubicBezTo>
                      <a:pt x="271951" y="240606"/>
                      <a:pt x="241660" y="270889"/>
                      <a:pt x="195725" y="270889"/>
                    </a:cubicBezTo>
                    <a:cubicBezTo>
                      <a:pt x="148125" y="270889"/>
                      <a:pt x="100525" y="270889"/>
                      <a:pt x="51261" y="270889"/>
                    </a:cubicBezTo>
                    <a:cubicBezTo>
                      <a:pt x="51261" y="275881"/>
                      <a:pt x="51261" y="280540"/>
                      <a:pt x="51261" y="284866"/>
                    </a:cubicBezTo>
                    <a:cubicBezTo>
                      <a:pt x="51261" y="340109"/>
                      <a:pt x="51261" y="395352"/>
                      <a:pt x="51261" y="450262"/>
                    </a:cubicBezTo>
                    <a:cubicBezTo>
                      <a:pt x="51261" y="469564"/>
                      <a:pt x="45602" y="479214"/>
                      <a:pt x="32621" y="483208"/>
                    </a:cubicBezTo>
                    <a:cubicBezTo>
                      <a:pt x="20970" y="486536"/>
                      <a:pt x="11317" y="481544"/>
                      <a:pt x="999" y="466568"/>
                    </a:cubicBezTo>
                    <a:cubicBezTo>
                      <a:pt x="999" y="390360"/>
                      <a:pt x="999" y="314484"/>
                      <a:pt x="999" y="238276"/>
                    </a:cubicBezTo>
                    <a:cubicBezTo>
                      <a:pt x="6324" y="231953"/>
                      <a:pt x="11317" y="225297"/>
                      <a:pt x="16976" y="219307"/>
                    </a:cubicBezTo>
                    <a:cubicBezTo>
                      <a:pt x="84548" y="151418"/>
                      <a:pt x="152452" y="83530"/>
                      <a:pt x="220357" y="15974"/>
                    </a:cubicBezTo>
                    <a:cubicBezTo>
                      <a:pt x="226348" y="10316"/>
                      <a:pt x="233005" y="5325"/>
                      <a:pt x="239330" y="0"/>
                    </a:cubicBezTo>
                    <a:cubicBezTo>
                      <a:pt x="450033" y="0"/>
                      <a:pt x="661070" y="0"/>
                      <a:pt x="871773" y="0"/>
                    </a:cubicBezTo>
                    <a:cubicBezTo>
                      <a:pt x="921370" y="18969"/>
                      <a:pt x="934352" y="37938"/>
                      <a:pt x="934352" y="92182"/>
                    </a:cubicBezTo>
                    <a:cubicBezTo>
                      <a:pt x="934352" y="226296"/>
                      <a:pt x="934352" y="360742"/>
                      <a:pt x="934352" y="494855"/>
                    </a:cubicBezTo>
                    <a:cubicBezTo>
                      <a:pt x="934352" y="499182"/>
                      <a:pt x="934352" y="503508"/>
                      <a:pt x="934352" y="509831"/>
                    </a:cubicBezTo>
                    <a:cubicBezTo>
                      <a:pt x="939012" y="506503"/>
                      <a:pt x="941675" y="504839"/>
                      <a:pt x="944338" y="502842"/>
                    </a:cubicBezTo>
                    <a:cubicBezTo>
                      <a:pt x="1070826" y="416318"/>
                      <a:pt x="1242252" y="480878"/>
                      <a:pt x="1279533" y="629302"/>
                    </a:cubicBezTo>
                    <a:cubicBezTo>
                      <a:pt x="1281863" y="638620"/>
                      <a:pt x="1283860" y="647938"/>
                      <a:pt x="1285857" y="656923"/>
                    </a:cubicBezTo>
                    <a:cubicBezTo>
                      <a:pt x="1285857" y="672897"/>
                      <a:pt x="1285857" y="688538"/>
                      <a:pt x="1285857" y="704512"/>
                    </a:cubicBezTo>
                    <a:cubicBezTo>
                      <a:pt x="1285191" y="706841"/>
                      <a:pt x="1283860" y="709171"/>
                      <a:pt x="1283527" y="711500"/>
                    </a:cubicBezTo>
                    <a:cubicBezTo>
                      <a:pt x="1277203" y="756759"/>
                      <a:pt x="1258562" y="796028"/>
                      <a:pt x="1226940" y="829307"/>
                    </a:cubicBezTo>
                    <a:cubicBezTo>
                      <a:pt x="1204971" y="852270"/>
                      <a:pt x="1183002" y="875232"/>
                      <a:pt x="1159368" y="896530"/>
                    </a:cubicBezTo>
                    <a:cubicBezTo>
                      <a:pt x="1110437" y="941457"/>
                      <a:pt x="1052852" y="960758"/>
                      <a:pt x="986611" y="953437"/>
                    </a:cubicBezTo>
                    <a:cubicBezTo>
                      <a:pt x="973963" y="952106"/>
                      <a:pt x="961314" y="949443"/>
                      <a:pt x="948665" y="947114"/>
                    </a:cubicBezTo>
                    <a:cubicBezTo>
                      <a:pt x="948332" y="948112"/>
                      <a:pt x="947999" y="948778"/>
                      <a:pt x="947999" y="949443"/>
                    </a:cubicBezTo>
                    <a:cubicBezTo>
                      <a:pt x="948332" y="951773"/>
                      <a:pt x="948998" y="954435"/>
                      <a:pt x="949664" y="956765"/>
                    </a:cubicBezTo>
                    <a:cubicBezTo>
                      <a:pt x="966640" y="1029645"/>
                      <a:pt x="951328" y="1095537"/>
                      <a:pt x="902397" y="1152111"/>
                    </a:cubicBezTo>
                    <a:cubicBezTo>
                      <a:pt x="878430" y="1179733"/>
                      <a:pt x="852134" y="1206023"/>
                      <a:pt x="824173" y="1229984"/>
                    </a:cubicBezTo>
                    <a:cubicBezTo>
                      <a:pt x="805866" y="1245625"/>
                      <a:pt x="783564" y="1257938"/>
                      <a:pt x="761595" y="1268254"/>
                    </a:cubicBezTo>
                    <a:cubicBezTo>
                      <a:pt x="744286" y="1276241"/>
                      <a:pt x="724314" y="1278904"/>
                      <a:pt x="705341" y="1284228"/>
                    </a:cubicBezTo>
                    <a:cubicBezTo>
                      <a:pt x="689363" y="1284228"/>
                      <a:pt x="673718" y="1284228"/>
                      <a:pt x="657741" y="1284228"/>
                    </a:cubicBezTo>
                    <a:cubicBezTo>
                      <a:pt x="655411" y="1283562"/>
                      <a:pt x="653081" y="1282231"/>
                      <a:pt x="650751" y="1281898"/>
                    </a:cubicBezTo>
                    <a:cubicBezTo>
                      <a:pt x="590502" y="1272580"/>
                      <a:pt x="541904" y="1243628"/>
                      <a:pt x="505955" y="1194375"/>
                    </a:cubicBezTo>
                    <a:cubicBezTo>
                      <a:pt x="499963" y="1186056"/>
                      <a:pt x="493971" y="1183726"/>
                      <a:pt x="484318" y="1183726"/>
                    </a:cubicBezTo>
                    <a:cubicBezTo>
                      <a:pt x="349841" y="1184059"/>
                      <a:pt x="215364" y="1184059"/>
                      <a:pt x="80886" y="1184059"/>
                    </a:cubicBezTo>
                    <a:cubicBezTo>
                      <a:pt x="39944" y="1184059"/>
                      <a:pt x="13980" y="1164757"/>
                      <a:pt x="1997" y="1125821"/>
                    </a:cubicBezTo>
                    <a:cubicBezTo>
                      <a:pt x="1664" y="1124157"/>
                      <a:pt x="666" y="1122826"/>
                      <a:pt x="0" y="1121162"/>
                    </a:cubicBezTo>
                    <a:cubicBezTo>
                      <a:pt x="666" y="973071"/>
                      <a:pt x="666" y="824981"/>
                      <a:pt x="666" y="677223"/>
                    </a:cubicBezTo>
                    <a:close/>
                    <a:moveTo>
                      <a:pt x="957985" y="896863"/>
                    </a:moveTo>
                    <a:cubicBezTo>
                      <a:pt x="1021562" y="914168"/>
                      <a:pt x="1075819" y="903519"/>
                      <a:pt x="1122753" y="862253"/>
                    </a:cubicBezTo>
                    <a:cubicBezTo>
                      <a:pt x="1147052" y="840622"/>
                      <a:pt x="1169687" y="816994"/>
                      <a:pt x="1191989" y="793366"/>
                    </a:cubicBezTo>
                    <a:cubicBezTo>
                      <a:pt x="1219284" y="764413"/>
                      <a:pt x="1233597" y="728805"/>
                      <a:pt x="1235262" y="689204"/>
                    </a:cubicBezTo>
                    <a:cubicBezTo>
                      <a:pt x="1238257" y="618985"/>
                      <a:pt x="1199312" y="556421"/>
                      <a:pt x="1136401" y="528800"/>
                    </a:cubicBezTo>
                    <a:cubicBezTo>
                      <a:pt x="1072824" y="500846"/>
                      <a:pt x="1001258" y="513824"/>
                      <a:pt x="950995" y="563077"/>
                    </a:cubicBezTo>
                    <a:cubicBezTo>
                      <a:pt x="931689" y="581713"/>
                      <a:pt x="913048" y="600682"/>
                      <a:pt x="894075" y="619651"/>
                    </a:cubicBezTo>
                    <a:cubicBezTo>
                      <a:pt x="864783" y="648936"/>
                      <a:pt x="848805" y="684212"/>
                      <a:pt x="844811" y="725477"/>
                    </a:cubicBezTo>
                    <a:cubicBezTo>
                      <a:pt x="842814" y="747109"/>
                      <a:pt x="845144" y="768074"/>
                      <a:pt x="853133" y="791036"/>
                    </a:cubicBezTo>
                    <a:cubicBezTo>
                      <a:pt x="865782" y="778058"/>
                      <a:pt x="877099" y="767076"/>
                      <a:pt x="887418" y="755095"/>
                    </a:cubicBezTo>
                    <a:cubicBezTo>
                      <a:pt x="891412" y="750436"/>
                      <a:pt x="894408" y="743781"/>
                      <a:pt x="894741" y="738123"/>
                    </a:cubicBezTo>
                    <a:cubicBezTo>
                      <a:pt x="896072" y="708505"/>
                      <a:pt x="905392" y="682215"/>
                      <a:pt x="925697" y="660584"/>
                    </a:cubicBezTo>
                    <a:cubicBezTo>
                      <a:pt x="946668" y="638620"/>
                      <a:pt x="967971" y="616656"/>
                      <a:pt x="990606" y="596023"/>
                    </a:cubicBezTo>
                    <a:cubicBezTo>
                      <a:pt x="1020231" y="568734"/>
                      <a:pt x="1056180" y="559749"/>
                      <a:pt x="1095458" y="569067"/>
                    </a:cubicBezTo>
                    <a:cubicBezTo>
                      <a:pt x="1181670" y="589700"/>
                      <a:pt x="1213625" y="693863"/>
                      <a:pt x="1154375" y="759422"/>
                    </a:cubicBezTo>
                    <a:cubicBezTo>
                      <a:pt x="1136068" y="779389"/>
                      <a:pt x="1116096" y="798025"/>
                      <a:pt x="1097123" y="817327"/>
                    </a:cubicBezTo>
                    <a:cubicBezTo>
                      <a:pt x="1073156" y="841953"/>
                      <a:pt x="1044197" y="854266"/>
                      <a:pt x="1009912" y="854932"/>
                    </a:cubicBezTo>
                    <a:cubicBezTo>
                      <a:pt x="1006251" y="854932"/>
                      <a:pt x="1001590" y="856263"/>
                      <a:pt x="998928" y="858592"/>
                    </a:cubicBezTo>
                    <a:cubicBezTo>
                      <a:pt x="985613" y="869907"/>
                      <a:pt x="973297" y="882220"/>
                      <a:pt x="957985" y="896863"/>
                    </a:cubicBezTo>
                    <a:close/>
                    <a:moveTo>
                      <a:pt x="898069" y="957098"/>
                    </a:moveTo>
                    <a:cubicBezTo>
                      <a:pt x="883423" y="972073"/>
                      <a:pt x="871107" y="984386"/>
                      <a:pt x="859457" y="997365"/>
                    </a:cubicBezTo>
                    <a:cubicBezTo>
                      <a:pt x="856794" y="1000360"/>
                      <a:pt x="855796" y="1005685"/>
                      <a:pt x="855463" y="1009678"/>
                    </a:cubicBezTo>
                    <a:cubicBezTo>
                      <a:pt x="854797" y="1041626"/>
                      <a:pt x="843812" y="1069247"/>
                      <a:pt x="821178" y="1092209"/>
                    </a:cubicBezTo>
                    <a:cubicBezTo>
                      <a:pt x="802204" y="1111511"/>
                      <a:pt x="783231" y="1131146"/>
                      <a:pt x="763592" y="1149782"/>
                    </a:cubicBezTo>
                    <a:cubicBezTo>
                      <a:pt x="716658" y="1194708"/>
                      <a:pt x="644759" y="1194375"/>
                      <a:pt x="599823" y="1149116"/>
                    </a:cubicBezTo>
                    <a:cubicBezTo>
                      <a:pt x="554886" y="1103524"/>
                      <a:pt x="554553" y="1032641"/>
                      <a:pt x="599490" y="985385"/>
                    </a:cubicBezTo>
                    <a:cubicBezTo>
                      <a:pt x="618463" y="965750"/>
                      <a:pt x="637769" y="946781"/>
                      <a:pt x="657075" y="927812"/>
                    </a:cubicBezTo>
                    <a:cubicBezTo>
                      <a:pt x="680043" y="905516"/>
                      <a:pt x="707671" y="894201"/>
                      <a:pt x="739626" y="893868"/>
                    </a:cubicBezTo>
                    <a:cubicBezTo>
                      <a:pt x="743287" y="893868"/>
                      <a:pt x="747947" y="893868"/>
                      <a:pt x="750277" y="891538"/>
                    </a:cubicBezTo>
                    <a:cubicBezTo>
                      <a:pt x="763925" y="878560"/>
                      <a:pt x="776907" y="865248"/>
                      <a:pt x="791220" y="850938"/>
                    </a:cubicBezTo>
                    <a:cubicBezTo>
                      <a:pt x="729640" y="833966"/>
                      <a:pt x="675383" y="844283"/>
                      <a:pt x="628782" y="885215"/>
                    </a:cubicBezTo>
                    <a:cubicBezTo>
                      <a:pt x="604150" y="906847"/>
                      <a:pt x="580849" y="930807"/>
                      <a:pt x="558547" y="955101"/>
                    </a:cubicBezTo>
                    <a:cubicBezTo>
                      <a:pt x="499297" y="1019662"/>
                      <a:pt x="500629" y="1118167"/>
                      <a:pt x="560544" y="1181729"/>
                    </a:cubicBezTo>
                    <a:cubicBezTo>
                      <a:pt x="620127" y="1244959"/>
                      <a:pt x="719987" y="1252946"/>
                      <a:pt x="786560" y="1196705"/>
                    </a:cubicBezTo>
                    <a:cubicBezTo>
                      <a:pt x="816518" y="1171413"/>
                      <a:pt x="844478" y="1143459"/>
                      <a:pt x="869443" y="1113175"/>
                    </a:cubicBezTo>
                    <a:cubicBezTo>
                      <a:pt x="906724" y="1068582"/>
                      <a:pt x="914713" y="1016334"/>
                      <a:pt x="898069" y="957098"/>
                    </a:cubicBezTo>
                    <a:close/>
                    <a:moveTo>
                      <a:pt x="1006583" y="769073"/>
                    </a:moveTo>
                    <a:cubicBezTo>
                      <a:pt x="999926" y="761751"/>
                      <a:pt x="995266" y="752766"/>
                      <a:pt x="987943" y="748440"/>
                    </a:cubicBezTo>
                    <a:cubicBezTo>
                      <a:pt x="977624" y="742450"/>
                      <a:pt x="966972" y="746110"/>
                      <a:pt x="958318" y="754763"/>
                    </a:cubicBezTo>
                    <a:cubicBezTo>
                      <a:pt x="891079" y="821986"/>
                      <a:pt x="823508" y="889542"/>
                      <a:pt x="756269" y="957098"/>
                    </a:cubicBezTo>
                    <a:cubicBezTo>
                      <a:pt x="744619" y="969078"/>
                      <a:pt x="744286" y="984719"/>
                      <a:pt x="755270" y="995035"/>
                    </a:cubicBezTo>
                    <a:cubicBezTo>
                      <a:pt x="765589" y="1005019"/>
                      <a:pt x="780901" y="1004686"/>
                      <a:pt x="792218" y="993039"/>
                    </a:cubicBezTo>
                    <a:cubicBezTo>
                      <a:pt x="859790" y="925816"/>
                      <a:pt x="927029" y="858592"/>
                      <a:pt x="994267" y="790704"/>
                    </a:cubicBezTo>
                    <a:cubicBezTo>
                      <a:pt x="999260" y="786045"/>
                      <a:pt x="1001590" y="778391"/>
                      <a:pt x="1006583" y="769073"/>
                    </a:cubicBezTo>
                    <a:close/>
                    <a:moveTo>
                      <a:pt x="1053184" y="788041"/>
                    </a:moveTo>
                    <a:cubicBezTo>
                      <a:pt x="1055847" y="786045"/>
                      <a:pt x="1057845" y="785046"/>
                      <a:pt x="1059509" y="783382"/>
                    </a:cubicBezTo>
                    <a:cubicBezTo>
                      <a:pt x="1078149" y="764746"/>
                      <a:pt x="1097123" y="746443"/>
                      <a:pt x="1115097" y="727474"/>
                    </a:cubicBezTo>
                    <a:cubicBezTo>
                      <a:pt x="1141061" y="700185"/>
                      <a:pt x="1140728" y="659585"/>
                      <a:pt x="1114432" y="633961"/>
                    </a:cubicBezTo>
                    <a:cubicBezTo>
                      <a:pt x="1088468" y="608336"/>
                      <a:pt x="1048524" y="608669"/>
                      <a:pt x="1020897" y="634959"/>
                    </a:cubicBezTo>
                    <a:cubicBezTo>
                      <a:pt x="1007582" y="647605"/>
                      <a:pt x="994933" y="660917"/>
                      <a:pt x="981951" y="673895"/>
                    </a:cubicBezTo>
                    <a:cubicBezTo>
                      <a:pt x="974961" y="680884"/>
                      <a:pt x="968304" y="687872"/>
                      <a:pt x="959982" y="696192"/>
                    </a:cubicBezTo>
                    <a:cubicBezTo>
                      <a:pt x="1020231" y="689869"/>
                      <a:pt x="1059842" y="731135"/>
                      <a:pt x="1053184" y="788041"/>
                    </a:cubicBezTo>
                    <a:close/>
                    <a:moveTo>
                      <a:pt x="697685" y="960426"/>
                    </a:moveTo>
                    <a:cubicBezTo>
                      <a:pt x="695022" y="962422"/>
                      <a:pt x="692692" y="963753"/>
                      <a:pt x="690695" y="965750"/>
                    </a:cubicBezTo>
                    <a:cubicBezTo>
                      <a:pt x="672387" y="984053"/>
                      <a:pt x="653747" y="1002024"/>
                      <a:pt x="635772" y="1020660"/>
                    </a:cubicBezTo>
                    <a:cubicBezTo>
                      <a:pt x="609808" y="1047616"/>
                      <a:pt x="610141" y="1087218"/>
                      <a:pt x="635106" y="1113175"/>
                    </a:cubicBezTo>
                    <a:cubicBezTo>
                      <a:pt x="660737" y="1139133"/>
                      <a:pt x="701013" y="1139798"/>
                      <a:pt x="728641" y="1113841"/>
                    </a:cubicBezTo>
                    <a:cubicBezTo>
                      <a:pt x="747282" y="1095870"/>
                      <a:pt x="765256" y="1077234"/>
                      <a:pt x="783564" y="1058931"/>
                    </a:cubicBezTo>
                    <a:cubicBezTo>
                      <a:pt x="785561" y="1056934"/>
                      <a:pt x="786893" y="1054604"/>
                      <a:pt x="789223" y="1051942"/>
                    </a:cubicBezTo>
                    <a:cubicBezTo>
                      <a:pt x="720985" y="1049280"/>
                      <a:pt x="698351" y="1026650"/>
                      <a:pt x="697685" y="960426"/>
                    </a:cubicBezTo>
                    <a:close/>
                    <a:moveTo>
                      <a:pt x="90206" y="220638"/>
                    </a:moveTo>
                    <a:cubicBezTo>
                      <a:pt x="126489" y="220638"/>
                      <a:pt x="162438" y="220971"/>
                      <a:pt x="198387" y="220638"/>
                    </a:cubicBezTo>
                    <a:cubicBezTo>
                      <a:pt x="213366" y="220638"/>
                      <a:pt x="221688" y="211986"/>
                      <a:pt x="221688" y="197010"/>
                    </a:cubicBezTo>
                    <a:cubicBezTo>
                      <a:pt x="222021" y="176710"/>
                      <a:pt x="221688" y="156077"/>
                      <a:pt x="221688" y="135777"/>
                    </a:cubicBezTo>
                    <a:cubicBezTo>
                      <a:pt x="221688" y="120136"/>
                      <a:pt x="221688" y="104495"/>
                      <a:pt x="221688" y="88854"/>
                    </a:cubicBezTo>
                    <a:cubicBezTo>
                      <a:pt x="177417" y="133115"/>
                      <a:pt x="134145" y="176378"/>
                      <a:pt x="90206" y="220638"/>
                    </a:cubicBezTo>
                    <a:close/>
                  </a:path>
                </a:pathLst>
              </a:custGeom>
              <a:grpFill/>
              <a:ln w="33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6747616-8B1D-AE31-6A74-11BEB00B172A}"/>
                  </a:ext>
                </a:extLst>
              </p:cNvPr>
              <p:cNvSpPr/>
              <p:nvPr/>
            </p:nvSpPr>
            <p:spPr>
              <a:xfrm>
                <a:off x="4584188" y="1023905"/>
                <a:ext cx="50275" cy="49840"/>
              </a:xfrm>
              <a:custGeom>
                <a:avLst/>
                <a:gdLst>
                  <a:gd name="connsiteX0" fmla="*/ 0 w 50275"/>
                  <a:gd name="connsiteY0" fmla="*/ 17599 h 49840"/>
                  <a:gd name="connsiteX1" fmla="*/ 4327 w 50275"/>
                  <a:gd name="connsiteY1" fmla="*/ 11609 h 49840"/>
                  <a:gd name="connsiteX2" fmla="*/ 32621 w 50275"/>
                  <a:gd name="connsiteY2" fmla="*/ 1292 h 49840"/>
                  <a:gd name="connsiteX3" fmla="*/ 50263 w 50275"/>
                  <a:gd name="connsiteY3" fmla="*/ 25586 h 49840"/>
                  <a:gd name="connsiteX4" fmla="*/ 32621 w 50275"/>
                  <a:gd name="connsiteY4" fmla="*/ 48548 h 49840"/>
                  <a:gd name="connsiteX5" fmla="*/ 4327 w 50275"/>
                  <a:gd name="connsiteY5" fmla="*/ 38232 h 49840"/>
                  <a:gd name="connsiteX6" fmla="*/ 0 w 50275"/>
                  <a:gd name="connsiteY6" fmla="*/ 32242 h 49840"/>
                  <a:gd name="connsiteX7" fmla="*/ 0 w 50275"/>
                  <a:gd name="connsiteY7" fmla="*/ 17599 h 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75" h="49840">
                    <a:moveTo>
                      <a:pt x="0" y="17599"/>
                    </a:moveTo>
                    <a:cubicBezTo>
                      <a:pt x="1331" y="15602"/>
                      <a:pt x="2663" y="13605"/>
                      <a:pt x="4327" y="11609"/>
                    </a:cubicBezTo>
                    <a:cubicBezTo>
                      <a:pt x="11317" y="1958"/>
                      <a:pt x="20970" y="-2368"/>
                      <a:pt x="32621" y="1292"/>
                    </a:cubicBezTo>
                    <a:cubicBezTo>
                      <a:pt x="44271" y="4953"/>
                      <a:pt x="50595" y="13605"/>
                      <a:pt x="50263" y="25586"/>
                    </a:cubicBezTo>
                    <a:cubicBezTo>
                      <a:pt x="49930" y="37233"/>
                      <a:pt x="43605" y="45220"/>
                      <a:pt x="32621" y="48548"/>
                    </a:cubicBezTo>
                    <a:cubicBezTo>
                      <a:pt x="20970" y="52209"/>
                      <a:pt x="11650" y="47883"/>
                      <a:pt x="4327" y="38232"/>
                    </a:cubicBezTo>
                    <a:cubicBezTo>
                      <a:pt x="2996" y="36235"/>
                      <a:pt x="1664" y="34238"/>
                      <a:pt x="0" y="32242"/>
                    </a:cubicBezTo>
                    <a:cubicBezTo>
                      <a:pt x="0" y="27915"/>
                      <a:pt x="0" y="22591"/>
                      <a:pt x="0" y="17599"/>
                    </a:cubicBezTo>
                    <a:close/>
                  </a:path>
                </a:pathLst>
              </a:custGeom>
              <a:grpFill/>
              <a:ln w="33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FE3CEC6-0A28-0A2A-FF36-B4F93DDF60F1}"/>
                  </a:ext>
                </a:extLst>
              </p:cNvPr>
              <p:cNvSpPr/>
              <p:nvPr/>
            </p:nvSpPr>
            <p:spPr>
              <a:xfrm>
                <a:off x="4754948" y="883282"/>
                <a:ext cx="591842" cy="50482"/>
              </a:xfrm>
              <a:custGeom>
                <a:avLst/>
                <a:gdLst>
                  <a:gd name="connsiteX0" fmla="*/ 296250 w 591842"/>
                  <a:gd name="connsiteY0" fmla="*/ 50399 h 50482"/>
                  <a:gd name="connsiteX1" fmla="*/ 35617 w 591842"/>
                  <a:gd name="connsiteY1" fmla="*/ 50399 h 50482"/>
                  <a:gd name="connsiteX2" fmla="*/ 22968 w 591842"/>
                  <a:gd name="connsiteY2" fmla="*/ 50066 h 50482"/>
                  <a:gd name="connsiteX3" fmla="*/ 0 w 591842"/>
                  <a:gd name="connsiteY3" fmla="*/ 24774 h 50482"/>
                  <a:gd name="connsiteX4" fmla="*/ 23633 w 591842"/>
                  <a:gd name="connsiteY4" fmla="*/ 148 h 50482"/>
                  <a:gd name="connsiteX5" fmla="*/ 31289 w 591842"/>
                  <a:gd name="connsiteY5" fmla="*/ 148 h 50482"/>
                  <a:gd name="connsiteX6" fmla="*/ 560212 w 591842"/>
                  <a:gd name="connsiteY6" fmla="*/ 148 h 50482"/>
                  <a:gd name="connsiteX7" fmla="*/ 568866 w 591842"/>
                  <a:gd name="connsiteY7" fmla="*/ 148 h 50482"/>
                  <a:gd name="connsiteX8" fmla="*/ 591834 w 591842"/>
                  <a:gd name="connsiteY8" fmla="*/ 24109 h 50482"/>
                  <a:gd name="connsiteX9" fmla="*/ 570530 w 591842"/>
                  <a:gd name="connsiteY9" fmla="*/ 49733 h 50482"/>
                  <a:gd name="connsiteX10" fmla="*/ 556883 w 591842"/>
                  <a:gd name="connsiteY10" fmla="*/ 50066 h 50482"/>
                  <a:gd name="connsiteX11" fmla="*/ 296250 w 591842"/>
                  <a:gd name="connsiteY11" fmla="*/ 50399 h 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1842" h="50482">
                    <a:moveTo>
                      <a:pt x="296250" y="50399"/>
                    </a:moveTo>
                    <a:cubicBezTo>
                      <a:pt x="209372" y="50399"/>
                      <a:pt x="122494" y="50399"/>
                      <a:pt x="35617" y="50399"/>
                    </a:cubicBezTo>
                    <a:cubicBezTo>
                      <a:pt x="31289" y="50399"/>
                      <a:pt x="27295" y="50732"/>
                      <a:pt x="22968" y="50066"/>
                    </a:cubicBezTo>
                    <a:cubicBezTo>
                      <a:pt x="9320" y="48402"/>
                      <a:pt x="0" y="37753"/>
                      <a:pt x="0" y="24774"/>
                    </a:cubicBezTo>
                    <a:cubicBezTo>
                      <a:pt x="333" y="11795"/>
                      <a:pt x="9986" y="1479"/>
                      <a:pt x="23633" y="148"/>
                    </a:cubicBezTo>
                    <a:cubicBezTo>
                      <a:pt x="25963" y="-185"/>
                      <a:pt x="28626" y="148"/>
                      <a:pt x="31289" y="148"/>
                    </a:cubicBezTo>
                    <a:cubicBezTo>
                      <a:pt x="207708" y="148"/>
                      <a:pt x="384126" y="148"/>
                      <a:pt x="560212" y="148"/>
                    </a:cubicBezTo>
                    <a:cubicBezTo>
                      <a:pt x="563207" y="148"/>
                      <a:pt x="566203" y="148"/>
                      <a:pt x="568866" y="148"/>
                    </a:cubicBezTo>
                    <a:cubicBezTo>
                      <a:pt x="581515" y="1479"/>
                      <a:pt x="591501" y="11795"/>
                      <a:pt x="591834" y="24109"/>
                    </a:cubicBezTo>
                    <a:cubicBezTo>
                      <a:pt x="592167" y="36422"/>
                      <a:pt x="583179" y="47737"/>
                      <a:pt x="570530" y="49733"/>
                    </a:cubicBezTo>
                    <a:cubicBezTo>
                      <a:pt x="565870" y="50399"/>
                      <a:pt x="561210" y="50066"/>
                      <a:pt x="556883" y="50066"/>
                    </a:cubicBezTo>
                    <a:cubicBezTo>
                      <a:pt x="470005" y="50399"/>
                      <a:pt x="383128" y="50399"/>
                      <a:pt x="296250" y="50399"/>
                    </a:cubicBezTo>
                    <a:close/>
                  </a:path>
                </a:pathLst>
              </a:custGeom>
              <a:grpFill/>
              <a:ln w="33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E3D0E60-BEC0-7B9A-0C3B-C046503193EE}"/>
                  </a:ext>
                </a:extLst>
              </p:cNvPr>
              <p:cNvSpPr/>
              <p:nvPr/>
            </p:nvSpPr>
            <p:spPr>
              <a:xfrm>
                <a:off x="4754939" y="1164552"/>
                <a:ext cx="550909" cy="50417"/>
              </a:xfrm>
              <a:custGeom>
                <a:avLst/>
                <a:gdLst>
                  <a:gd name="connsiteX0" fmla="*/ 276287 w 550909"/>
                  <a:gd name="connsiteY0" fmla="*/ 83 h 50417"/>
                  <a:gd name="connsiteX1" fmla="*/ 516948 w 550909"/>
                  <a:gd name="connsiteY1" fmla="*/ 83 h 50417"/>
                  <a:gd name="connsiteX2" fmla="*/ 528266 w 550909"/>
                  <a:gd name="connsiteY2" fmla="*/ 416 h 50417"/>
                  <a:gd name="connsiteX3" fmla="*/ 550900 w 550909"/>
                  <a:gd name="connsiteY3" fmla="*/ 24709 h 50417"/>
                  <a:gd name="connsiteX4" fmla="*/ 529264 w 550909"/>
                  <a:gd name="connsiteY4" fmla="*/ 50001 h 50417"/>
                  <a:gd name="connsiteX5" fmla="*/ 516615 w 550909"/>
                  <a:gd name="connsiteY5" fmla="*/ 50334 h 50417"/>
                  <a:gd name="connsiteX6" fmla="*/ 33961 w 550909"/>
                  <a:gd name="connsiteY6" fmla="*/ 50334 h 50417"/>
                  <a:gd name="connsiteX7" fmla="*/ 21312 w 550909"/>
                  <a:gd name="connsiteY7" fmla="*/ 50001 h 50417"/>
                  <a:gd name="connsiteX8" fmla="*/ 9 w 550909"/>
                  <a:gd name="connsiteY8" fmla="*/ 24709 h 50417"/>
                  <a:gd name="connsiteX9" fmla="*/ 22644 w 550909"/>
                  <a:gd name="connsiteY9" fmla="*/ 416 h 50417"/>
                  <a:gd name="connsiteX10" fmla="*/ 33961 w 550909"/>
                  <a:gd name="connsiteY10" fmla="*/ 83 h 50417"/>
                  <a:gd name="connsiteX11" fmla="*/ 276287 w 550909"/>
                  <a:gd name="connsiteY11" fmla="*/ 83 h 5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909" h="50417">
                    <a:moveTo>
                      <a:pt x="276287" y="83"/>
                    </a:moveTo>
                    <a:cubicBezTo>
                      <a:pt x="356507" y="83"/>
                      <a:pt x="436728" y="83"/>
                      <a:pt x="516948" y="83"/>
                    </a:cubicBezTo>
                    <a:cubicBezTo>
                      <a:pt x="520610" y="83"/>
                      <a:pt x="524604" y="-250"/>
                      <a:pt x="528266" y="416"/>
                    </a:cubicBezTo>
                    <a:cubicBezTo>
                      <a:pt x="541247" y="1747"/>
                      <a:pt x="550567" y="12064"/>
                      <a:pt x="550900" y="24709"/>
                    </a:cubicBezTo>
                    <a:cubicBezTo>
                      <a:pt x="551233" y="37355"/>
                      <a:pt x="542246" y="48005"/>
                      <a:pt x="529264" y="50001"/>
                    </a:cubicBezTo>
                    <a:cubicBezTo>
                      <a:pt x="525270" y="50667"/>
                      <a:pt x="520942" y="50334"/>
                      <a:pt x="516615" y="50334"/>
                    </a:cubicBezTo>
                    <a:cubicBezTo>
                      <a:pt x="355841" y="50334"/>
                      <a:pt x="194735" y="50334"/>
                      <a:pt x="33961" y="50334"/>
                    </a:cubicBezTo>
                    <a:cubicBezTo>
                      <a:pt x="29634" y="50334"/>
                      <a:pt x="25640" y="50667"/>
                      <a:pt x="21312" y="50001"/>
                    </a:cubicBezTo>
                    <a:cubicBezTo>
                      <a:pt x="8663" y="48005"/>
                      <a:pt x="-324" y="37023"/>
                      <a:pt x="9" y="24709"/>
                    </a:cubicBezTo>
                    <a:cubicBezTo>
                      <a:pt x="342" y="12064"/>
                      <a:pt x="9995" y="1747"/>
                      <a:pt x="22644" y="416"/>
                    </a:cubicBezTo>
                    <a:cubicBezTo>
                      <a:pt x="26305" y="83"/>
                      <a:pt x="30300" y="83"/>
                      <a:pt x="33961" y="83"/>
                    </a:cubicBezTo>
                    <a:cubicBezTo>
                      <a:pt x="114847" y="83"/>
                      <a:pt x="195401" y="83"/>
                      <a:pt x="276287" y="83"/>
                    </a:cubicBezTo>
                    <a:close/>
                  </a:path>
                </a:pathLst>
              </a:custGeom>
              <a:grpFill/>
              <a:ln w="33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1D4634F9-B204-C5FE-E5E3-E28E90C771F2}"/>
                  </a:ext>
                </a:extLst>
              </p:cNvPr>
              <p:cNvSpPr/>
              <p:nvPr/>
            </p:nvSpPr>
            <p:spPr>
              <a:xfrm>
                <a:off x="4755273" y="1024199"/>
                <a:ext cx="433874" cy="50334"/>
              </a:xfrm>
              <a:custGeom>
                <a:avLst/>
                <a:gdLst>
                  <a:gd name="connsiteX0" fmla="*/ 216703 w 433874"/>
                  <a:gd name="connsiteY0" fmla="*/ 0 h 50334"/>
                  <a:gd name="connsiteX1" fmla="*/ 404771 w 433874"/>
                  <a:gd name="connsiteY1" fmla="*/ 0 h 50334"/>
                  <a:gd name="connsiteX2" fmla="*/ 432399 w 433874"/>
                  <a:gd name="connsiteY2" fmla="*/ 17305 h 50334"/>
                  <a:gd name="connsiteX3" fmla="*/ 412427 w 433874"/>
                  <a:gd name="connsiteY3" fmla="*/ 49918 h 50334"/>
                  <a:gd name="connsiteX4" fmla="*/ 398780 w 433874"/>
                  <a:gd name="connsiteY4" fmla="*/ 50251 h 50334"/>
                  <a:gd name="connsiteX5" fmla="*/ 35291 w 433874"/>
                  <a:gd name="connsiteY5" fmla="*/ 50251 h 50334"/>
                  <a:gd name="connsiteX6" fmla="*/ 25305 w 433874"/>
                  <a:gd name="connsiteY6" fmla="*/ 50251 h 50334"/>
                  <a:gd name="connsiteX7" fmla="*/ 8 w 433874"/>
                  <a:gd name="connsiteY7" fmla="*/ 24626 h 50334"/>
                  <a:gd name="connsiteX8" fmla="*/ 25305 w 433874"/>
                  <a:gd name="connsiteY8" fmla="*/ 333 h 50334"/>
                  <a:gd name="connsiteX9" fmla="*/ 86885 w 433874"/>
                  <a:gd name="connsiteY9" fmla="*/ 333 h 50334"/>
                  <a:gd name="connsiteX10" fmla="*/ 216703 w 433874"/>
                  <a:gd name="connsiteY10" fmla="*/ 0 h 5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3874" h="50334">
                    <a:moveTo>
                      <a:pt x="216703" y="0"/>
                    </a:moveTo>
                    <a:cubicBezTo>
                      <a:pt x="279281" y="0"/>
                      <a:pt x="342193" y="0"/>
                      <a:pt x="404771" y="0"/>
                    </a:cubicBezTo>
                    <a:cubicBezTo>
                      <a:pt x="417753" y="0"/>
                      <a:pt x="427739" y="4659"/>
                      <a:pt x="432399" y="17305"/>
                    </a:cubicBezTo>
                    <a:cubicBezTo>
                      <a:pt x="437725" y="31615"/>
                      <a:pt x="428072" y="47589"/>
                      <a:pt x="412427" y="49918"/>
                    </a:cubicBezTo>
                    <a:cubicBezTo>
                      <a:pt x="407767" y="50584"/>
                      <a:pt x="403107" y="50251"/>
                      <a:pt x="398780" y="50251"/>
                    </a:cubicBezTo>
                    <a:cubicBezTo>
                      <a:pt x="277617" y="50251"/>
                      <a:pt x="156454" y="50251"/>
                      <a:pt x="35291" y="50251"/>
                    </a:cubicBezTo>
                    <a:cubicBezTo>
                      <a:pt x="31963" y="50251"/>
                      <a:pt x="28634" y="50251"/>
                      <a:pt x="25305" y="50251"/>
                    </a:cubicBezTo>
                    <a:cubicBezTo>
                      <a:pt x="10326" y="49253"/>
                      <a:pt x="-325" y="38603"/>
                      <a:pt x="8" y="24626"/>
                    </a:cubicBezTo>
                    <a:cubicBezTo>
                      <a:pt x="340" y="10982"/>
                      <a:pt x="10659" y="666"/>
                      <a:pt x="25305" y="333"/>
                    </a:cubicBezTo>
                    <a:cubicBezTo>
                      <a:pt x="45610" y="0"/>
                      <a:pt x="66248" y="333"/>
                      <a:pt x="86885" y="333"/>
                    </a:cubicBezTo>
                    <a:cubicBezTo>
                      <a:pt x="129825" y="0"/>
                      <a:pt x="173430" y="0"/>
                      <a:pt x="216703" y="0"/>
                    </a:cubicBezTo>
                    <a:close/>
                  </a:path>
                </a:pathLst>
              </a:custGeom>
              <a:grpFill/>
              <a:ln w="33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119C0A3-2B4F-B525-BA25-77D6ACC5DB92}"/>
                  </a:ext>
                </a:extLst>
              </p:cNvPr>
              <p:cNvSpPr/>
              <p:nvPr/>
            </p:nvSpPr>
            <p:spPr>
              <a:xfrm>
                <a:off x="4944169" y="743076"/>
                <a:ext cx="397649" cy="50167"/>
              </a:xfrm>
              <a:custGeom>
                <a:avLst/>
                <a:gdLst>
                  <a:gd name="connsiteX0" fmla="*/ 198899 w 397649"/>
                  <a:gd name="connsiteY0" fmla="*/ 50168 h 50167"/>
                  <a:gd name="connsiteX1" fmla="*/ 29471 w 397649"/>
                  <a:gd name="connsiteY1" fmla="*/ 50168 h 50167"/>
                  <a:gd name="connsiteX2" fmla="*/ 2509 w 397649"/>
                  <a:gd name="connsiteY2" fmla="*/ 35525 h 50167"/>
                  <a:gd name="connsiteX3" fmla="*/ 23812 w 397649"/>
                  <a:gd name="connsiteY3" fmla="*/ 250 h 50167"/>
                  <a:gd name="connsiteX4" fmla="*/ 373986 w 397649"/>
                  <a:gd name="connsiteY4" fmla="*/ 250 h 50167"/>
                  <a:gd name="connsiteX5" fmla="*/ 397619 w 397649"/>
                  <a:gd name="connsiteY5" fmla="*/ 25874 h 50167"/>
                  <a:gd name="connsiteX6" fmla="*/ 371989 w 397649"/>
                  <a:gd name="connsiteY6" fmla="*/ 49835 h 50167"/>
                  <a:gd name="connsiteX7" fmla="*/ 281782 w 397649"/>
                  <a:gd name="connsiteY7" fmla="*/ 49835 h 50167"/>
                  <a:gd name="connsiteX8" fmla="*/ 198899 w 397649"/>
                  <a:gd name="connsiteY8" fmla="*/ 50168 h 5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49" h="50167">
                    <a:moveTo>
                      <a:pt x="198899" y="50168"/>
                    </a:moveTo>
                    <a:cubicBezTo>
                      <a:pt x="142312" y="50168"/>
                      <a:pt x="86058" y="50168"/>
                      <a:pt x="29471" y="50168"/>
                    </a:cubicBezTo>
                    <a:cubicBezTo>
                      <a:pt x="17488" y="50168"/>
                      <a:pt x="7835" y="46840"/>
                      <a:pt x="2509" y="35525"/>
                    </a:cubicBezTo>
                    <a:cubicBezTo>
                      <a:pt x="-5147" y="19551"/>
                      <a:pt x="5504" y="250"/>
                      <a:pt x="23812" y="250"/>
                    </a:cubicBezTo>
                    <a:cubicBezTo>
                      <a:pt x="140648" y="-83"/>
                      <a:pt x="257150" y="-83"/>
                      <a:pt x="373986" y="250"/>
                    </a:cubicBezTo>
                    <a:cubicBezTo>
                      <a:pt x="387966" y="250"/>
                      <a:pt x="398285" y="12563"/>
                      <a:pt x="397619" y="25874"/>
                    </a:cubicBezTo>
                    <a:cubicBezTo>
                      <a:pt x="396954" y="39186"/>
                      <a:pt x="386635" y="49502"/>
                      <a:pt x="371989" y="49835"/>
                    </a:cubicBezTo>
                    <a:cubicBezTo>
                      <a:pt x="342031" y="50168"/>
                      <a:pt x="311740" y="49835"/>
                      <a:pt x="281782" y="49835"/>
                    </a:cubicBezTo>
                    <a:cubicBezTo>
                      <a:pt x="254155" y="50168"/>
                      <a:pt x="226527" y="50168"/>
                      <a:pt x="198899" y="50168"/>
                    </a:cubicBezTo>
                    <a:close/>
                  </a:path>
                </a:pathLst>
              </a:custGeom>
              <a:grpFill/>
              <a:ln w="3314"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1E175D11-F268-28D2-FB67-729A11CCB2BA}"/>
                  </a:ext>
                </a:extLst>
              </p:cNvPr>
              <p:cNvSpPr/>
              <p:nvPr/>
            </p:nvSpPr>
            <p:spPr>
              <a:xfrm>
                <a:off x="4754941" y="1305405"/>
                <a:ext cx="239031" cy="49918"/>
              </a:xfrm>
              <a:custGeom>
                <a:avLst/>
                <a:gdLst>
                  <a:gd name="connsiteX0" fmla="*/ 119173 w 239031"/>
                  <a:gd name="connsiteY0" fmla="*/ 49918 h 49918"/>
                  <a:gd name="connsiteX1" fmla="*/ 28966 w 239031"/>
                  <a:gd name="connsiteY1" fmla="*/ 49918 h 49918"/>
                  <a:gd name="connsiteX2" fmla="*/ 7 w 239031"/>
                  <a:gd name="connsiteY2" fmla="*/ 24294 h 49918"/>
                  <a:gd name="connsiteX3" fmla="*/ 28966 w 239031"/>
                  <a:gd name="connsiteY3" fmla="*/ 0 h 49918"/>
                  <a:gd name="connsiteX4" fmla="*/ 210378 w 239031"/>
                  <a:gd name="connsiteY4" fmla="*/ 0 h 49918"/>
                  <a:gd name="connsiteX5" fmla="*/ 239004 w 239031"/>
                  <a:gd name="connsiteY5" fmla="*/ 25625 h 49918"/>
                  <a:gd name="connsiteX6" fmla="*/ 210378 w 239031"/>
                  <a:gd name="connsiteY6" fmla="*/ 49918 h 49918"/>
                  <a:gd name="connsiteX7" fmla="*/ 119173 w 239031"/>
                  <a:gd name="connsiteY7" fmla="*/ 49918 h 4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031" h="49918">
                    <a:moveTo>
                      <a:pt x="119173" y="49918"/>
                    </a:moveTo>
                    <a:cubicBezTo>
                      <a:pt x="89215" y="49918"/>
                      <a:pt x="58924" y="49918"/>
                      <a:pt x="28966" y="49918"/>
                    </a:cubicBezTo>
                    <a:cubicBezTo>
                      <a:pt x="10992" y="49918"/>
                      <a:pt x="-326" y="39602"/>
                      <a:pt x="7" y="24294"/>
                    </a:cubicBezTo>
                    <a:cubicBezTo>
                      <a:pt x="340" y="9318"/>
                      <a:pt x="11325" y="0"/>
                      <a:pt x="28966" y="0"/>
                    </a:cubicBezTo>
                    <a:cubicBezTo>
                      <a:pt x="89548" y="0"/>
                      <a:pt x="150129" y="0"/>
                      <a:pt x="210378" y="0"/>
                    </a:cubicBezTo>
                    <a:cubicBezTo>
                      <a:pt x="228352" y="0"/>
                      <a:pt x="239670" y="9984"/>
                      <a:pt x="239004" y="25625"/>
                    </a:cubicBezTo>
                    <a:cubicBezTo>
                      <a:pt x="238671" y="40600"/>
                      <a:pt x="228020" y="49918"/>
                      <a:pt x="210378" y="49918"/>
                    </a:cubicBezTo>
                    <a:cubicBezTo>
                      <a:pt x="180087" y="49918"/>
                      <a:pt x="149464" y="49918"/>
                      <a:pt x="119173" y="49918"/>
                    </a:cubicBezTo>
                    <a:close/>
                  </a:path>
                </a:pathLst>
              </a:custGeom>
              <a:grpFill/>
              <a:ln w="3314"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D0000074-94A0-1F5A-688E-02BD8BA31D65}"/>
                  </a:ext>
                </a:extLst>
              </p:cNvPr>
              <p:cNvSpPr/>
              <p:nvPr/>
            </p:nvSpPr>
            <p:spPr>
              <a:xfrm>
                <a:off x="5256242" y="1023949"/>
                <a:ext cx="90872" cy="50315"/>
              </a:xfrm>
              <a:custGeom>
                <a:avLst/>
                <a:gdLst>
                  <a:gd name="connsiteX0" fmla="*/ 45270 w 90872"/>
                  <a:gd name="connsiteY0" fmla="*/ 50168 h 50315"/>
                  <a:gd name="connsiteX1" fmla="*/ 25298 w 90872"/>
                  <a:gd name="connsiteY1" fmla="*/ 50168 h 50315"/>
                  <a:gd name="connsiteX2" fmla="*/ 0 w 90872"/>
                  <a:gd name="connsiteY2" fmla="*/ 24876 h 50315"/>
                  <a:gd name="connsiteX3" fmla="*/ 24632 w 90872"/>
                  <a:gd name="connsiteY3" fmla="*/ 250 h 50315"/>
                  <a:gd name="connsiteX4" fmla="*/ 65907 w 90872"/>
                  <a:gd name="connsiteY4" fmla="*/ 250 h 50315"/>
                  <a:gd name="connsiteX5" fmla="*/ 90872 w 90872"/>
                  <a:gd name="connsiteY5" fmla="*/ 24876 h 50315"/>
                  <a:gd name="connsiteX6" fmla="*/ 66573 w 90872"/>
                  <a:gd name="connsiteY6" fmla="*/ 50168 h 50315"/>
                  <a:gd name="connsiteX7" fmla="*/ 45270 w 90872"/>
                  <a:gd name="connsiteY7" fmla="*/ 50168 h 50315"/>
                  <a:gd name="connsiteX8" fmla="*/ 45270 w 90872"/>
                  <a:gd name="connsiteY8" fmla="*/ 50168 h 5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872" h="50315">
                    <a:moveTo>
                      <a:pt x="45270" y="50168"/>
                    </a:moveTo>
                    <a:cubicBezTo>
                      <a:pt x="38612" y="50168"/>
                      <a:pt x="31955" y="50501"/>
                      <a:pt x="25298" y="50168"/>
                    </a:cubicBezTo>
                    <a:cubicBezTo>
                      <a:pt x="9986" y="49502"/>
                      <a:pt x="0" y="39186"/>
                      <a:pt x="0" y="24876"/>
                    </a:cubicBezTo>
                    <a:cubicBezTo>
                      <a:pt x="333" y="10899"/>
                      <a:pt x="9986" y="915"/>
                      <a:pt x="24632" y="250"/>
                    </a:cubicBezTo>
                    <a:cubicBezTo>
                      <a:pt x="38279" y="-83"/>
                      <a:pt x="52260" y="-83"/>
                      <a:pt x="65907" y="250"/>
                    </a:cubicBezTo>
                    <a:cubicBezTo>
                      <a:pt x="80220" y="915"/>
                      <a:pt x="90539" y="11564"/>
                      <a:pt x="90872" y="24876"/>
                    </a:cubicBezTo>
                    <a:cubicBezTo>
                      <a:pt x="90872" y="38187"/>
                      <a:pt x="80553" y="49169"/>
                      <a:pt x="66573" y="50168"/>
                    </a:cubicBezTo>
                    <a:cubicBezTo>
                      <a:pt x="59250" y="50501"/>
                      <a:pt x="52260" y="50168"/>
                      <a:pt x="45270" y="50168"/>
                    </a:cubicBezTo>
                    <a:cubicBezTo>
                      <a:pt x="45270" y="50168"/>
                      <a:pt x="45270" y="50168"/>
                      <a:pt x="45270" y="50168"/>
                    </a:cubicBezTo>
                    <a:close/>
                  </a:path>
                </a:pathLst>
              </a:custGeom>
              <a:grpFill/>
              <a:ln w="3314" cap="flat">
                <a:noFill/>
                <a:prstDash val="solid"/>
                <a:miter/>
              </a:ln>
            </p:spPr>
            <p:txBody>
              <a:bodyPr rtlCol="0" anchor="ctr"/>
              <a:lstStyle/>
              <a:p>
                <a:endParaRPr lang="en-US"/>
              </a:p>
            </p:txBody>
          </p:sp>
        </p:grpSp>
      </p:grpSp>
      <p:grpSp>
        <p:nvGrpSpPr>
          <p:cNvPr id="26" name="Graphic 3">
            <a:extLst>
              <a:ext uri="{FF2B5EF4-FFF2-40B4-BE49-F238E27FC236}">
                <a16:creationId xmlns:a16="http://schemas.microsoft.com/office/drawing/2014/main" id="{78FC8508-6DD1-DEF5-2B48-29824893A2B5}"/>
              </a:ext>
            </a:extLst>
          </p:cNvPr>
          <p:cNvGrpSpPr/>
          <p:nvPr/>
        </p:nvGrpSpPr>
        <p:grpSpPr>
          <a:xfrm>
            <a:off x="4348121" y="3848558"/>
            <a:ext cx="1004457" cy="731722"/>
            <a:chOff x="2616673" y="2155292"/>
            <a:chExt cx="1242473" cy="905111"/>
          </a:xfrm>
          <a:solidFill>
            <a:srgbClr val="595959"/>
          </a:solidFill>
        </p:grpSpPr>
        <p:sp>
          <p:nvSpPr>
            <p:cNvPr id="27" name="Freeform 26">
              <a:extLst>
                <a:ext uri="{FF2B5EF4-FFF2-40B4-BE49-F238E27FC236}">
                  <a16:creationId xmlns:a16="http://schemas.microsoft.com/office/drawing/2014/main" id="{8C70CE30-8ECB-F4C9-DE3A-2188D5421E40}"/>
                </a:ext>
              </a:extLst>
            </p:cNvPr>
            <p:cNvSpPr/>
            <p:nvPr/>
          </p:nvSpPr>
          <p:spPr>
            <a:xfrm>
              <a:off x="2655071" y="2371971"/>
              <a:ext cx="52113" cy="252334"/>
            </a:xfrm>
            <a:custGeom>
              <a:avLst/>
              <a:gdLst>
                <a:gd name="connsiteX0" fmla="*/ 52113 w 52113"/>
                <a:gd name="connsiteY0" fmla="*/ 238620 h 252334"/>
                <a:gd name="connsiteX1" fmla="*/ 38399 w 52113"/>
                <a:gd name="connsiteY1" fmla="*/ 252334 h 252334"/>
                <a:gd name="connsiteX2" fmla="*/ 13714 w 52113"/>
                <a:gd name="connsiteY2" fmla="*/ 252334 h 252334"/>
                <a:gd name="connsiteX3" fmla="*/ 0 w 52113"/>
                <a:gd name="connsiteY3" fmla="*/ 238620 h 252334"/>
                <a:gd name="connsiteX4" fmla="*/ 0 w 52113"/>
                <a:gd name="connsiteY4" fmla="*/ 238620 h 252334"/>
                <a:gd name="connsiteX5" fmla="*/ 0 w 52113"/>
                <a:gd name="connsiteY5" fmla="*/ 235877 h 252334"/>
                <a:gd name="connsiteX6" fmla="*/ 0 w 52113"/>
                <a:gd name="connsiteY6" fmla="*/ 13714 h 252334"/>
                <a:gd name="connsiteX7" fmla="*/ 13714 w 52113"/>
                <a:gd name="connsiteY7" fmla="*/ 0 h 252334"/>
                <a:gd name="connsiteX8" fmla="*/ 38399 w 52113"/>
                <a:gd name="connsiteY8" fmla="*/ 0 h 252334"/>
                <a:gd name="connsiteX9" fmla="*/ 52113 w 52113"/>
                <a:gd name="connsiteY9" fmla="*/ 13714 h 252334"/>
                <a:gd name="connsiteX10" fmla="*/ 52113 w 52113"/>
                <a:gd name="connsiteY10" fmla="*/ 238620 h 25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113" h="252334">
                  <a:moveTo>
                    <a:pt x="52113" y="238620"/>
                  </a:moveTo>
                  <a:cubicBezTo>
                    <a:pt x="52113" y="246849"/>
                    <a:pt x="46627" y="252334"/>
                    <a:pt x="38399" y="252334"/>
                  </a:cubicBezTo>
                  <a:lnTo>
                    <a:pt x="13714" y="252334"/>
                  </a:lnTo>
                  <a:cubicBezTo>
                    <a:pt x="5486" y="252334"/>
                    <a:pt x="0" y="246849"/>
                    <a:pt x="0" y="238620"/>
                  </a:cubicBezTo>
                  <a:cubicBezTo>
                    <a:pt x="0" y="238620"/>
                    <a:pt x="0" y="238620"/>
                    <a:pt x="0" y="238620"/>
                  </a:cubicBezTo>
                  <a:cubicBezTo>
                    <a:pt x="0" y="238620"/>
                    <a:pt x="0" y="238620"/>
                    <a:pt x="0" y="235877"/>
                  </a:cubicBezTo>
                  <a:lnTo>
                    <a:pt x="0" y="13714"/>
                  </a:lnTo>
                  <a:cubicBezTo>
                    <a:pt x="0" y="5485"/>
                    <a:pt x="5486" y="0"/>
                    <a:pt x="13714" y="0"/>
                  </a:cubicBezTo>
                  <a:lnTo>
                    <a:pt x="38399" y="0"/>
                  </a:lnTo>
                  <a:cubicBezTo>
                    <a:pt x="46627" y="0"/>
                    <a:pt x="52113" y="5485"/>
                    <a:pt x="52113" y="13714"/>
                  </a:cubicBezTo>
                  <a:lnTo>
                    <a:pt x="52113" y="238620"/>
                  </a:lnTo>
                  <a:close/>
                </a:path>
              </a:pathLst>
            </a:custGeom>
            <a:solidFill>
              <a:srgbClr val="F16924"/>
            </a:solid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30C68746-54CA-72CD-1564-516F736F5355}"/>
                </a:ext>
              </a:extLst>
            </p:cNvPr>
            <p:cNvSpPr/>
            <p:nvPr/>
          </p:nvSpPr>
          <p:spPr>
            <a:xfrm>
              <a:off x="3763150" y="2720302"/>
              <a:ext cx="52111" cy="252334"/>
            </a:xfrm>
            <a:custGeom>
              <a:avLst/>
              <a:gdLst>
                <a:gd name="connsiteX0" fmla="*/ 52112 w 52111"/>
                <a:gd name="connsiteY0" fmla="*/ 238620 h 252334"/>
                <a:gd name="connsiteX1" fmla="*/ 38398 w 52111"/>
                <a:gd name="connsiteY1" fmla="*/ 252334 h 252334"/>
                <a:gd name="connsiteX2" fmla="*/ 13714 w 52111"/>
                <a:gd name="connsiteY2" fmla="*/ 252334 h 252334"/>
                <a:gd name="connsiteX3" fmla="*/ 0 w 52111"/>
                <a:gd name="connsiteY3" fmla="*/ 238620 h 252334"/>
                <a:gd name="connsiteX4" fmla="*/ 0 w 52111"/>
                <a:gd name="connsiteY4" fmla="*/ 238620 h 252334"/>
                <a:gd name="connsiteX5" fmla="*/ 0 w 52111"/>
                <a:gd name="connsiteY5" fmla="*/ 235878 h 252334"/>
                <a:gd name="connsiteX6" fmla="*/ 0 w 52111"/>
                <a:gd name="connsiteY6" fmla="*/ 13714 h 252334"/>
                <a:gd name="connsiteX7" fmla="*/ 13714 w 52111"/>
                <a:gd name="connsiteY7" fmla="*/ 0 h 252334"/>
                <a:gd name="connsiteX8" fmla="*/ 38398 w 52111"/>
                <a:gd name="connsiteY8" fmla="*/ 0 h 252334"/>
                <a:gd name="connsiteX9" fmla="*/ 52112 w 52111"/>
                <a:gd name="connsiteY9" fmla="*/ 13714 h 252334"/>
                <a:gd name="connsiteX10" fmla="*/ 52112 w 52111"/>
                <a:gd name="connsiteY10" fmla="*/ 238620 h 25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111" h="252334">
                  <a:moveTo>
                    <a:pt x="52112" y="238620"/>
                  </a:moveTo>
                  <a:cubicBezTo>
                    <a:pt x="52112" y="246849"/>
                    <a:pt x="46627" y="252334"/>
                    <a:pt x="38398" y="252334"/>
                  </a:cubicBezTo>
                  <a:lnTo>
                    <a:pt x="13714" y="252334"/>
                  </a:lnTo>
                  <a:cubicBezTo>
                    <a:pt x="5486" y="252334"/>
                    <a:pt x="0" y="246849"/>
                    <a:pt x="0" y="238620"/>
                  </a:cubicBezTo>
                  <a:cubicBezTo>
                    <a:pt x="0" y="238620"/>
                    <a:pt x="0" y="238620"/>
                    <a:pt x="0" y="238620"/>
                  </a:cubicBezTo>
                  <a:cubicBezTo>
                    <a:pt x="0" y="238620"/>
                    <a:pt x="0" y="238620"/>
                    <a:pt x="0" y="235878"/>
                  </a:cubicBezTo>
                  <a:lnTo>
                    <a:pt x="0" y="13714"/>
                  </a:lnTo>
                  <a:cubicBezTo>
                    <a:pt x="0" y="5485"/>
                    <a:pt x="5486" y="0"/>
                    <a:pt x="13714" y="0"/>
                  </a:cubicBezTo>
                  <a:lnTo>
                    <a:pt x="38398" y="0"/>
                  </a:lnTo>
                  <a:cubicBezTo>
                    <a:pt x="46627" y="0"/>
                    <a:pt x="52112" y="5485"/>
                    <a:pt x="52112" y="13714"/>
                  </a:cubicBezTo>
                  <a:lnTo>
                    <a:pt x="52112" y="238620"/>
                  </a:lnTo>
                  <a:close/>
                </a:path>
              </a:pathLst>
            </a:custGeom>
            <a:solidFill>
              <a:srgbClr val="F16924"/>
            </a:solid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9D403FD9-AB82-E03A-2989-34D85DB9206C}"/>
                </a:ext>
              </a:extLst>
            </p:cNvPr>
            <p:cNvSpPr/>
            <p:nvPr/>
          </p:nvSpPr>
          <p:spPr>
            <a:xfrm>
              <a:off x="3406590" y="2215633"/>
              <a:ext cx="109710" cy="109710"/>
            </a:xfrm>
            <a:custGeom>
              <a:avLst/>
              <a:gdLst>
                <a:gd name="connsiteX0" fmla="*/ 0 w 109710"/>
                <a:gd name="connsiteY0" fmla="*/ 74054 h 109710"/>
                <a:gd name="connsiteX1" fmla="*/ 0 w 109710"/>
                <a:gd name="connsiteY1" fmla="*/ 0 h 109710"/>
                <a:gd name="connsiteX2" fmla="*/ 109711 w 109710"/>
                <a:gd name="connsiteY2" fmla="*/ 109710 h 109710"/>
                <a:gd name="connsiteX3" fmla="*/ 35656 w 109710"/>
                <a:gd name="connsiteY3" fmla="*/ 109710 h 109710"/>
                <a:gd name="connsiteX4" fmla="*/ 0 w 109710"/>
                <a:gd name="connsiteY4" fmla="*/ 74054 h 109710"/>
                <a:gd name="connsiteX5" fmla="*/ 0 w 109710"/>
                <a:gd name="connsiteY5" fmla="*/ 74054 h 1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10" h="109710">
                  <a:moveTo>
                    <a:pt x="0" y="74054"/>
                  </a:moveTo>
                  <a:lnTo>
                    <a:pt x="0" y="0"/>
                  </a:lnTo>
                  <a:cubicBezTo>
                    <a:pt x="16456" y="16456"/>
                    <a:pt x="93253" y="93254"/>
                    <a:pt x="109711" y="109710"/>
                  </a:cubicBezTo>
                  <a:lnTo>
                    <a:pt x="35656" y="109710"/>
                  </a:lnTo>
                  <a:cubicBezTo>
                    <a:pt x="16456" y="109710"/>
                    <a:pt x="0" y="93254"/>
                    <a:pt x="0" y="74054"/>
                  </a:cubicBezTo>
                  <a:lnTo>
                    <a:pt x="0" y="74054"/>
                  </a:lnTo>
                  <a:close/>
                </a:path>
              </a:pathLst>
            </a:custGeom>
            <a:solidFill>
              <a:srgbClr val="F16924"/>
            </a:solidFill>
            <a:ln w="27426" cap="flat">
              <a:noFill/>
              <a:prstDash val="solid"/>
              <a:miter/>
            </a:ln>
          </p:spPr>
          <p:txBody>
            <a:bodyPr rtlCol="0" anchor="ctr"/>
            <a:lstStyle/>
            <a:p>
              <a:endParaRPr lang="en-US"/>
            </a:p>
          </p:txBody>
        </p:sp>
        <p:grpSp>
          <p:nvGrpSpPr>
            <p:cNvPr id="30" name="Graphic 3">
              <a:extLst>
                <a:ext uri="{FF2B5EF4-FFF2-40B4-BE49-F238E27FC236}">
                  <a16:creationId xmlns:a16="http://schemas.microsoft.com/office/drawing/2014/main" id="{7229C47C-5C25-C89C-49D1-8C864008588A}"/>
                </a:ext>
              </a:extLst>
            </p:cNvPr>
            <p:cNvGrpSpPr/>
            <p:nvPr/>
          </p:nvGrpSpPr>
          <p:grpSpPr>
            <a:xfrm>
              <a:off x="2616673" y="2155292"/>
              <a:ext cx="1242473" cy="905111"/>
              <a:chOff x="2616673" y="2155292"/>
              <a:chExt cx="1242473" cy="905111"/>
            </a:xfrm>
            <a:grpFill/>
          </p:grpSpPr>
          <p:sp>
            <p:nvSpPr>
              <p:cNvPr id="31" name="Freeform 30">
                <a:extLst>
                  <a:ext uri="{FF2B5EF4-FFF2-40B4-BE49-F238E27FC236}">
                    <a16:creationId xmlns:a16="http://schemas.microsoft.com/office/drawing/2014/main" id="{CFA72CD6-807B-60FA-DF48-AA51A00C3A52}"/>
                  </a:ext>
                </a:extLst>
              </p:cNvPr>
              <p:cNvSpPr/>
              <p:nvPr/>
            </p:nvSpPr>
            <p:spPr>
              <a:xfrm>
                <a:off x="2992431" y="2805327"/>
                <a:ext cx="200223" cy="38398"/>
              </a:xfrm>
              <a:custGeom>
                <a:avLst/>
                <a:gdLst>
                  <a:gd name="connsiteX0" fmla="*/ 181024 w 200223"/>
                  <a:gd name="connsiteY0" fmla="*/ 0 h 38398"/>
                  <a:gd name="connsiteX1" fmla="*/ 19200 w 200223"/>
                  <a:gd name="connsiteY1" fmla="*/ 0 h 38398"/>
                  <a:gd name="connsiteX2" fmla="*/ 0 w 200223"/>
                  <a:gd name="connsiteY2" fmla="*/ 19199 h 38398"/>
                  <a:gd name="connsiteX3" fmla="*/ 19200 w 200223"/>
                  <a:gd name="connsiteY3" fmla="*/ 38399 h 38398"/>
                  <a:gd name="connsiteX4" fmla="*/ 181024 w 200223"/>
                  <a:gd name="connsiteY4" fmla="*/ 38399 h 38398"/>
                  <a:gd name="connsiteX5" fmla="*/ 200223 w 200223"/>
                  <a:gd name="connsiteY5" fmla="*/ 19199 h 38398"/>
                  <a:gd name="connsiteX6" fmla="*/ 181024 w 200223"/>
                  <a:gd name="connsiteY6" fmla="*/ 0 h 38398"/>
                  <a:gd name="connsiteX7" fmla="*/ 181024 w 200223"/>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23" h="38398">
                    <a:moveTo>
                      <a:pt x="181024" y="0"/>
                    </a:moveTo>
                    <a:lnTo>
                      <a:pt x="19200" y="0"/>
                    </a:lnTo>
                    <a:cubicBezTo>
                      <a:pt x="8230" y="0"/>
                      <a:pt x="0" y="8228"/>
                      <a:pt x="0" y="19199"/>
                    </a:cubicBezTo>
                    <a:cubicBezTo>
                      <a:pt x="0" y="30170"/>
                      <a:pt x="8230" y="38399"/>
                      <a:pt x="19200" y="38399"/>
                    </a:cubicBezTo>
                    <a:lnTo>
                      <a:pt x="181024" y="38399"/>
                    </a:lnTo>
                    <a:cubicBezTo>
                      <a:pt x="191994" y="38399"/>
                      <a:pt x="200223" y="30170"/>
                      <a:pt x="200223" y="19199"/>
                    </a:cubicBezTo>
                    <a:cubicBezTo>
                      <a:pt x="197480" y="8228"/>
                      <a:pt x="189252" y="0"/>
                      <a:pt x="181024" y="0"/>
                    </a:cubicBezTo>
                    <a:lnTo>
                      <a:pt x="181024" y="0"/>
                    </a:ln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E155696C-9910-2690-6639-1C02EE264137}"/>
                  </a:ext>
                </a:extLst>
              </p:cNvPr>
              <p:cNvSpPr/>
              <p:nvPr/>
            </p:nvSpPr>
            <p:spPr>
              <a:xfrm>
                <a:off x="2992431" y="2882124"/>
                <a:ext cx="200223" cy="38398"/>
              </a:xfrm>
              <a:custGeom>
                <a:avLst/>
                <a:gdLst>
                  <a:gd name="connsiteX0" fmla="*/ 181024 w 200223"/>
                  <a:gd name="connsiteY0" fmla="*/ 0 h 38398"/>
                  <a:gd name="connsiteX1" fmla="*/ 19200 w 200223"/>
                  <a:gd name="connsiteY1" fmla="*/ 0 h 38398"/>
                  <a:gd name="connsiteX2" fmla="*/ 0 w 200223"/>
                  <a:gd name="connsiteY2" fmla="*/ 19200 h 38398"/>
                  <a:gd name="connsiteX3" fmla="*/ 19200 w 200223"/>
                  <a:gd name="connsiteY3" fmla="*/ 38399 h 38398"/>
                  <a:gd name="connsiteX4" fmla="*/ 181024 w 200223"/>
                  <a:gd name="connsiteY4" fmla="*/ 38399 h 38398"/>
                  <a:gd name="connsiteX5" fmla="*/ 200223 w 200223"/>
                  <a:gd name="connsiteY5" fmla="*/ 19200 h 38398"/>
                  <a:gd name="connsiteX6" fmla="*/ 181024 w 200223"/>
                  <a:gd name="connsiteY6" fmla="*/ 0 h 38398"/>
                  <a:gd name="connsiteX7" fmla="*/ 181024 w 200223"/>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23" h="38398">
                    <a:moveTo>
                      <a:pt x="181024" y="0"/>
                    </a:moveTo>
                    <a:lnTo>
                      <a:pt x="19200" y="0"/>
                    </a:lnTo>
                    <a:cubicBezTo>
                      <a:pt x="8230" y="0"/>
                      <a:pt x="0" y="8228"/>
                      <a:pt x="0" y="19200"/>
                    </a:cubicBezTo>
                    <a:cubicBezTo>
                      <a:pt x="0" y="30171"/>
                      <a:pt x="8230" y="38399"/>
                      <a:pt x="19200" y="38399"/>
                    </a:cubicBezTo>
                    <a:lnTo>
                      <a:pt x="181024" y="38399"/>
                    </a:lnTo>
                    <a:cubicBezTo>
                      <a:pt x="191994" y="38399"/>
                      <a:pt x="200223" y="30171"/>
                      <a:pt x="200223" y="19200"/>
                    </a:cubicBezTo>
                    <a:cubicBezTo>
                      <a:pt x="197480" y="8228"/>
                      <a:pt x="189252" y="0"/>
                      <a:pt x="181024" y="0"/>
                    </a:cubicBezTo>
                    <a:lnTo>
                      <a:pt x="181024" y="0"/>
                    </a:ln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5C04B000-3673-8998-0EA7-C1BED4A72094}"/>
                  </a:ext>
                </a:extLst>
              </p:cNvPr>
              <p:cNvSpPr/>
              <p:nvPr/>
            </p:nvSpPr>
            <p:spPr>
              <a:xfrm>
                <a:off x="2616673" y="2155292"/>
                <a:ext cx="1242473" cy="905111"/>
              </a:xfrm>
              <a:custGeom>
                <a:avLst/>
                <a:gdLst>
                  <a:gd name="connsiteX0" fmla="*/ 1184874 w 1242473"/>
                  <a:gd name="connsiteY0" fmla="*/ 532096 h 905111"/>
                  <a:gd name="connsiteX1" fmla="*/ 1160190 w 1242473"/>
                  <a:gd name="connsiteY1" fmla="*/ 532096 h 905111"/>
                  <a:gd name="connsiteX2" fmla="*/ 1116305 w 1242473"/>
                  <a:gd name="connsiteY2" fmla="*/ 559524 h 905111"/>
                  <a:gd name="connsiteX3" fmla="*/ 1099849 w 1242473"/>
                  <a:gd name="connsiteY3" fmla="*/ 559524 h 905111"/>
                  <a:gd name="connsiteX4" fmla="*/ 968197 w 1242473"/>
                  <a:gd name="connsiteY4" fmla="*/ 471755 h 905111"/>
                  <a:gd name="connsiteX5" fmla="*/ 968197 w 1242473"/>
                  <a:gd name="connsiteY5" fmla="*/ 348331 h 905111"/>
                  <a:gd name="connsiteX6" fmla="*/ 948997 w 1242473"/>
                  <a:gd name="connsiteY6" fmla="*/ 329131 h 905111"/>
                  <a:gd name="connsiteX7" fmla="*/ 929797 w 1242473"/>
                  <a:gd name="connsiteY7" fmla="*/ 348331 h 905111"/>
                  <a:gd name="connsiteX8" fmla="*/ 929797 w 1242473"/>
                  <a:gd name="connsiteY8" fmla="*/ 507411 h 905111"/>
                  <a:gd name="connsiteX9" fmla="*/ 888656 w 1242473"/>
                  <a:gd name="connsiteY9" fmla="*/ 548552 h 905111"/>
                  <a:gd name="connsiteX10" fmla="*/ 828314 w 1242473"/>
                  <a:gd name="connsiteY10" fmla="*/ 548552 h 905111"/>
                  <a:gd name="connsiteX11" fmla="*/ 767975 w 1242473"/>
                  <a:gd name="connsiteY11" fmla="*/ 608894 h 905111"/>
                  <a:gd name="connsiteX12" fmla="*/ 828314 w 1242473"/>
                  <a:gd name="connsiteY12" fmla="*/ 669234 h 905111"/>
                  <a:gd name="connsiteX13" fmla="*/ 916083 w 1242473"/>
                  <a:gd name="connsiteY13" fmla="*/ 669234 h 905111"/>
                  <a:gd name="connsiteX14" fmla="*/ 929797 w 1242473"/>
                  <a:gd name="connsiteY14" fmla="*/ 671977 h 905111"/>
                  <a:gd name="connsiteX15" fmla="*/ 929797 w 1242473"/>
                  <a:gd name="connsiteY15" fmla="*/ 831057 h 905111"/>
                  <a:gd name="connsiteX16" fmla="*/ 894142 w 1242473"/>
                  <a:gd name="connsiteY16" fmla="*/ 866713 h 905111"/>
                  <a:gd name="connsiteX17" fmla="*/ 345588 w 1242473"/>
                  <a:gd name="connsiteY17" fmla="*/ 866713 h 905111"/>
                  <a:gd name="connsiteX18" fmla="*/ 309932 w 1242473"/>
                  <a:gd name="connsiteY18" fmla="*/ 831057 h 905111"/>
                  <a:gd name="connsiteX19" fmla="*/ 309932 w 1242473"/>
                  <a:gd name="connsiteY19" fmla="*/ 518382 h 905111"/>
                  <a:gd name="connsiteX20" fmla="*/ 436099 w 1242473"/>
                  <a:gd name="connsiteY20" fmla="*/ 521125 h 905111"/>
                  <a:gd name="connsiteX21" fmla="*/ 493698 w 1242473"/>
                  <a:gd name="connsiteY21" fmla="*/ 463527 h 905111"/>
                  <a:gd name="connsiteX22" fmla="*/ 485468 w 1242473"/>
                  <a:gd name="connsiteY22" fmla="*/ 433357 h 905111"/>
                  <a:gd name="connsiteX23" fmla="*/ 510154 w 1242473"/>
                  <a:gd name="connsiteY23" fmla="*/ 386730 h 905111"/>
                  <a:gd name="connsiteX24" fmla="*/ 501926 w 1242473"/>
                  <a:gd name="connsiteY24" fmla="*/ 356559 h 905111"/>
                  <a:gd name="connsiteX25" fmla="*/ 526610 w 1242473"/>
                  <a:gd name="connsiteY25" fmla="*/ 309932 h 905111"/>
                  <a:gd name="connsiteX26" fmla="*/ 512896 w 1242473"/>
                  <a:gd name="connsiteY26" fmla="*/ 271534 h 905111"/>
                  <a:gd name="connsiteX27" fmla="*/ 529354 w 1242473"/>
                  <a:gd name="connsiteY27" fmla="*/ 233135 h 905111"/>
                  <a:gd name="connsiteX28" fmla="*/ 529354 w 1242473"/>
                  <a:gd name="connsiteY28" fmla="*/ 233135 h 905111"/>
                  <a:gd name="connsiteX29" fmla="*/ 471755 w 1242473"/>
                  <a:gd name="connsiteY29" fmla="*/ 175537 h 905111"/>
                  <a:gd name="connsiteX30" fmla="*/ 326388 w 1242473"/>
                  <a:gd name="connsiteY30" fmla="*/ 175537 h 905111"/>
                  <a:gd name="connsiteX31" fmla="*/ 309932 w 1242473"/>
                  <a:gd name="connsiteY31" fmla="*/ 159080 h 905111"/>
                  <a:gd name="connsiteX32" fmla="*/ 309932 w 1242473"/>
                  <a:gd name="connsiteY32" fmla="*/ 71312 h 905111"/>
                  <a:gd name="connsiteX33" fmla="*/ 345588 w 1242473"/>
                  <a:gd name="connsiteY33" fmla="*/ 35656 h 905111"/>
                  <a:gd name="connsiteX34" fmla="*/ 757003 w 1242473"/>
                  <a:gd name="connsiteY34" fmla="*/ 35656 h 905111"/>
                  <a:gd name="connsiteX35" fmla="*/ 757003 w 1242473"/>
                  <a:gd name="connsiteY35" fmla="*/ 134396 h 905111"/>
                  <a:gd name="connsiteX36" fmla="*/ 831058 w 1242473"/>
                  <a:gd name="connsiteY36" fmla="*/ 208450 h 905111"/>
                  <a:gd name="connsiteX37" fmla="*/ 929797 w 1242473"/>
                  <a:gd name="connsiteY37" fmla="*/ 208450 h 905111"/>
                  <a:gd name="connsiteX38" fmla="*/ 929797 w 1242473"/>
                  <a:gd name="connsiteY38" fmla="*/ 263305 h 905111"/>
                  <a:gd name="connsiteX39" fmla="*/ 948997 w 1242473"/>
                  <a:gd name="connsiteY39" fmla="*/ 282505 h 905111"/>
                  <a:gd name="connsiteX40" fmla="*/ 968197 w 1242473"/>
                  <a:gd name="connsiteY40" fmla="*/ 263305 h 905111"/>
                  <a:gd name="connsiteX41" fmla="*/ 968197 w 1242473"/>
                  <a:gd name="connsiteY41" fmla="*/ 208450 h 905111"/>
                  <a:gd name="connsiteX42" fmla="*/ 951739 w 1242473"/>
                  <a:gd name="connsiteY42" fmla="*/ 170052 h 905111"/>
                  <a:gd name="connsiteX43" fmla="*/ 798145 w 1242473"/>
                  <a:gd name="connsiteY43" fmla="*/ 16457 h 905111"/>
                  <a:gd name="connsiteX44" fmla="*/ 759745 w 1242473"/>
                  <a:gd name="connsiteY44" fmla="*/ 0 h 905111"/>
                  <a:gd name="connsiteX45" fmla="*/ 345588 w 1242473"/>
                  <a:gd name="connsiteY45" fmla="*/ 0 h 905111"/>
                  <a:gd name="connsiteX46" fmla="*/ 271533 w 1242473"/>
                  <a:gd name="connsiteY46" fmla="*/ 74055 h 905111"/>
                  <a:gd name="connsiteX47" fmla="*/ 271533 w 1242473"/>
                  <a:gd name="connsiteY47" fmla="*/ 120682 h 905111"/>
                  <a:gd name="connsiteX48" fmla="*/ 137138 w 1242473"/>
                  <a:gd name="connsiteY48" fmla="*/ 208450 h 905111"/>
                  <a:gd name="connsiteX49" fmla="*/ 120681 w 1242473"/>
                  <a:gd name="connsiteY49" fmla="*/ 208450 h 905111"/>
                  <a:gd name="connsiteX50" fmla="*/ 76797 w 1242473"/>
                  <a:gd name="connsiteY50" fmla="*/ 181022 h 905111"/>
                  <a:gd name="connsiteX51" fmla="*/ 52112 w 1242473"/>
                  <a:gd name="connsiteY51" fmla="*/ 181022 h 905111"/>
                  <a:gd name="connsiteX52" fmla="*/ 0 w 1242473"/>
                  <a:gd name="connsiteY52" fmla="*/ 233135 h 905111"/>
                  <a:gd name="connsiteX53" fmla="*/ 0 w 1242473"/>
                  <a:gd name="connsiteY53" fmla="*/ 455299 h 905111"/>
                  <a:gd name="connsiteX54" fmla="*/ 52112 w 1242473"/>
                  <a:gd name="connsiteY54" fmla="*/ 507411 h 905111"/>
                  <a:gd name="connsiteX55" fmla="*/ 76797 w 1242473"/>
                  <a:gd name="connsiteY55" fmla="*/ 507411 h 905111"/>
                  <a:gd name="connsiteX56" fmla="*/ 123425 w 1242473"/>
                  <a:gd name="connsiteY56" fmla="*/ 479983 h 905111"/>
                  <a:gd name="connsiteX57" fmla="*/ 167308 w 1242473"/>
                  <a:gd name="connsiteY57" fmla="*/ 479983 h 905111"/>
                  <a:gd name="connsiteX58" fmla="*/ 241363 w 1242473"/>
                  <a:gd name="connsiteY58" fmla="*/ 504669 h 905111"/>
                  <a:gd name="connsiteX59" fmla="*/ 241363 w 1242473"/>
                  <a:gd name="connsiteY59" fmla="*/ 504669 h 905111"/>
                  <a:gd name="connsiteX60" fmla="*/ 274277 w 1242473"/>
                  <a:gd name="connsiteY60" fmla="*/ 512897 h 905111"/>
                  <a:gd name="connsiteX61" fmla="*/ 274277 w 1242473"/>
                  <a:gd name="connsiteY61" fmla="*/ 831057 h 905111"/>
                  <a:gd name="connsiteX62" fmla="*/ 348330 w 1242473"/>
                  <a:gd name="connsiteY62" fmla="*/ 905112 h 905111"/>
                  <a:gd name="connsiteX63" fmla="*/ 896884 w 1242473"/>
                  <a:gd name="connsiteY63" fmla="*/ 905112 h 905111"/>
                  <a:gd name="connsiteX64" fmla="*/ 959969 w 1242473"/>
                  <a:gd name="connsiteY64" fmla="*/ 866713 h 905111"/>
                  <a:gd name="connsiteX65" fmla="*/ 1055965 w 1242473"/>
                  <a:gd name="connsiteY65" fmla="*/ 833800 h 905111"/>
                  <a:gd name="connsiteX66" fmla="*/ 1119049 w 1242473"/>
                  <a:gd name="connsiteY66" fmla="*/ 831057 h 905111"/>
                  <a:gd name="connsiteX67" fmla="*/ 1165676 w 1242473"/>
                  <a:gd name="connsiteY67" fmla="*/ 858485 h 905111"/>
                  <a:gd name="connsiteX68" fmla="*/ 1190360 w 1242473"/>
                  <a:gd name="connsiteY68" fmla="*/ 858485 h 905111"/>
                  <a:gd name="connsiteX69" fmla="*/ 1242473 w 1242473"/>
                  <a:gd name="connsiteY69" fmla="*/ 806372 h 905111"/>
                  <a:gd name="connsiteX70" fmla="*/ 1242473 w 1242473"/>
                  <a:gd name="connsiteY70" fmla="*/ 584208 h 905111"/>
                  <a:gd name="connsiteX71" fmla="*/ 1184874 w 1242473"/>
                  <a:gd name="connsiteY71" fmla="*/ 532096 h 905111"/>
                  <a:gd name="connsiteX72" fmla="*/ 1184874 w 1242473"/>
                  <a:gd name="connsiteY72" fmla="*/ 532096 h 905111"/>
                  <a:gd name="connsiteX73" fmla="*/ 792659 w 1242473"/>
                  <a:gd name="connsiteY73" fmla="*/ 139881 h 905111"/>
                  <a:gd name="connsiteX74" fmla="*/ 792659 w 1242473"/>
                  <a:gd name="connsiteY74" fmla="*/ 65827 h 905111"/>
                  <a:gd name="connsiteX75" fmla="*/ 902369 w 1242473"/>
                  <a:gd name="connsiteY75" fmla="*/ 175537 h 905111"/>
                  <a:gd name="connsiteX76" fmla="*/ 828314 w 1242473"/>
                  <a:gd name="connsiteY76" fmla="*/ 175537 h 905111"/>
                  <a:gd name="connsiteX77" fmla="*/ 792659 w 1242473"/>
                  <a:gd name="connsiteY77" fmla="*/ 139881 h 905111"/>
                  <a:gd name="connsiteX78" fmla="*/ 792659 w 1242473"/>
                  <a:gd name="connsiteY78" fmla="*/ 139881 h 905111"/>
                  <a:gd name="connsiteX79" fmla="*/ 164566 w 1242473"/>
                  <a:gd name="connsiteY79" fmla="*/ 441585 h 905111"/>
                  <a:gd name="connsiteX80" fmla="*/ 126167 w 1242473"/>
                  <a:gd name="connsiteY80" fmla="*/ 441585 h 905111"/>
                  <a:gd name="connsiteX81" fmla="*/ 126167 w 1242473"/>
                  <a:gd name="connsiteY81" fmla="*/ 359302 h 905111"/>
                  <a:gd name="connsiteX82" fmla="*/ 106967 w 1242473"/>
                  <a:gd name="connsiteY82" fmla="*/ 340103 h 905111"/>
                  <a:gd name="connsiteX83" fmla="*/ 87767 w 1242473"/>
                  <a:gd name="connsiteY83" fmla="*/ 359302 h 905111"/>
                  <a:gd name="connsiteX84" fmla="*/ 87767 w 1242473"/>
                  <a:gd name="connsiteY84" fmla="*/ 455299 h 905111"/>
                  <a:gd name="connsiteX85" fmla="*/ 87767 w 1242473"/>
                  <a:gd name="connsiteY85" fmla="*/ 458042 h 905111"/>
                  <a:gd name="connsiteX86" fmla="*/ 87767 w 1242473"/>
                  <a:gd name="connsiteY86" fmla="*/ 458042 h 905111"/>
                  <a:gd name="connsiteX87" fmla="*/ 74053 w 1242473"/>
                  <a:gd name="connsiteY87" fmla="*/ 471755 h 905111"/>
                  <a:gd name="connsiteX88" fmla="*/ 49369 w 1242473"/>
                  <a:gd name="connsiteY88" fmla="*/ 471755 h 905111"/>
                  <a:gd name="connsiteX89" fmla="*/ 35656 w 1242473"/>
                  <a:gd name="connsiteY89" fmla="*/ 458042 h 905111"/>
                  <a:gd name="connsiteX90" fmla="*/ 35656 w 1242473"/>
                  <a:gd name="connsiteY90" fmla="*/ 235878 h 905111"/>
                  <a:gd name="connsiteX91" fmla="*/ 49369 w 1242473"/>
                  <a:gd name="connsiteY91" fmla="*/ 222164 h 905111"/>
                  <a:gd name="connsiteX92" fmla="*/ 74053 w 1242473"/>
                  <a:gd name="connsiteY92" fmla="*/ 222164 h 905111"/>
                  <a:gd name="connsiteX93" fmla="*/ 87767 w 1242473"/>
                  <a:gd name="connsiteY93" fmla="*/ 235878 h 905111"/>
                  <a:gd name="connsiteX94" fmla="*/ 87767 w 1242473"/>
                  <a:gd name="connsiteY94" fmla="*/ 277019 h 905111"/>
                  <a:gd name="connsiteX95" fmla="*/ 106967 w 1242473"/>
                  <a:gd name="connsiteY95" fmla="*/ 296218 h 905111"/>
                  <a:gd name="connsiteX96" fmla="*/ 126167 w 1242473"/>
                  <a:gd name="connsiteY96" fmla="*/ 277019 h 905111"/>
                  <a:gd name="connsiteX97" fmla="*/ 126167 w 1242473"/>
                  <a:gd name="connsiteY97" fmla="*/ 246849 h 905111"/>
                  <a:gd name="connsiteX98" fmla="*/ 137138 w 1242473"/>
                  <a:gd name="connsiteY98" fmla="*/ 246849 h 905111"/>
                  <a:gd name="connsiteX99" fmla="*/ 271533 w 1242473"/>
                  <a:gd name="connsiteY99" fmla="*/ 159080 h 905111"/>
                  <a:gd name="connsiteX100" fmla="*/ 271533 w 1242473"/>
                  <a:gd name="connsiteY100" fmla="*/ 161823 h 905111"/>
                  <a:gd name="connsiteX101" fmla="*/ 323646 w 1242473"/>
                  <a:gd name="connsiteY101" fmla="*/ 213936 h 905111"/>
                  <a:gd name="connsiteX102" fmla="*/ 469013 w 1242473"/>
                  <a:gd name="connsiteY102" fmla="*/ 213936 h 905111"/>
                  <a:gd name="connsiteX103" fmla="*/ 488212 w 1242473"/>
                  <a:gd name="connsiteY103" fmla="*/ 233135 h 905111"/>
                  <a:gd name="connsiteX104" fmla="*/ 488212 w 1242473"/>
                  <a:gd name="connsiteY104" fmla="*/ 233135 h 905111"/>
                  <a:gd name="connsiteX105" fmla="*/ 488212 w 1242473"/>
                  <a:gd name="connsiteY105" fmla="*/ 233135 h 905111"/>
                  <a:gd name="connsiteX106" fmla="*/ 469013 w 1242473"/>
                  <a:gd name="connsiteY106" fmla="*/ 252334 h 905111"/>
                  <a:gd name="connsiteX107" fmla="*/ 469013 w 1242473"/>
                  <a:gd name="connsiteY107" fmla="*/ 252334 h 905111"/>
                  <a:gd name="connsiteX108" fmla="*/ 469013 w 1242473"/>
                  <a:gd name="connsiteY108" fmla="*/ 252334 h 905111"/>
                  <a:gd name="connsiteX109" fmla="*/ 326388 w 1242473"/>
                  <a:gd name="connsiteY109" fmla="*/ 252334 h 905111"/>
                  <a:gd name="connsiteX110" fmla="*/ 307189 w 1242473"/>
                  <a:gd name="connsiteY110" fmla="*/ 271534 h 905111"/>
                  <a:gd name="connsiteX111" fmla="*/ 326388 w 1242473"/>
                  <a:gd name="connsiteY111" fmla="*/ 290733 h 905111"/>
                  <a:gd name="connsiteX112" fmla="*/ 469013 w 1242473"/>
                  <a:gd name="connsiteY112" fmla="*/ 290733 h 905111"/>
                  <a:gd name="connsiteX113" fmla="*/ 488212 w 1242473"/>
                  <a:gd name="connsiteY113" fmla="*/ 309932 h 905111"/>
                  <a:gd name="connsiteX114" fmla="*/ 469013 w 1242473"/>
                  <a:gd name="connsiteY114" fmla="*/ 329131 h 905111"/>
                  <a:gd name="connsiteX115" fmla="*/ 329132 w 1242473"/>
                  <a:gd name="connsiteY115" fmla="*/ 329131 h 905111"/>
                  <a:gd name="connsiteX116" fmla="*/ 309932 w 1242473"/>
                  <a:gd name="connsiteY116" fmla="*/ 348331 h 905111"/>
                  <a:gd name="connsiteX117" fmla="*/ 329132 w 1242473"/>
                  <a:gd name="connsiteY117" fmla="*/ 367530 h 905111"/>
                  <a:gd name="connsiteX118" fmla="*/ 452557 w 1242473"/>
                  <a:gd name="connsiteY118" fmla="*/ 367530 h 905111"/>
                  <a:gd name="connsiteX119" fmla="*/ 471755 w 1242473"/>
                  <a:gd name="connsiteY119" fmla="*/ 386730 h 905111"/>
                  <a:gd name="connsiteX120" fmla="*/ 452557 w 1242473"/>
                  <a:gd name="connsiteY120" fmla="*/ 405929 h 905111"/>
                  <a:gd name="connsiteX121" fmla="*/ 329132 w 1242473"/>
                  <a:gd name="connsiteY121" fmla="*/ 405929 h 905111"/>
                  <a:gd name="connsiteX122" fmla="*/ 309932 w 1242473"/>
                  <a:gd name="connsiteY122" fmla="*/ 425128 h 905111"/>
                  <a:gd name="connsiteX123" fmla="*/ 329132 w 1242473"/>
                  <a:gd name="connsiteY123" fmla="*/ 444328 h 905111"/>
                  <a:gd name="connsiteX124" fmla="*/ 436099 w 1242473"/>
                  <a:gd name="connsiteY124" fmla="*/ 444328 h 905111"/>
                  <a:gd name="connsiteX125" fmla="*/ 455299 w 1242473"/>
                  <a:gd name="connsiteY125" fmla="*/ 463527 h 905111"/>
                  <a:gd name="connsiteX126" fmla="*/ 436099 w 1242473"/>
                  <a:gd name="connsiteY126" fmla="*/ 482726 h 905111"/>
                  <a:gd name="connsiteX127" fmla="*/ 252333 w 1242473"/>
                  <a:gd name="connsiteY127" fmla="*/ 469013 h 905111"/>
                  <a:gd name="connsiteX128" fmla="*/ 164566 w 1242473"/>
                  <a:gd name="connsiteY128" fmla="*/ 441585 h 905111"/>
                  <a:gd name="connsiteX129" fmla="*/ 164566 w 1242473"/>
                  <a:gd name="connsiteY129" fmla="*/ 441585 h 905111"/>
                  <a:gd name="connsiteX130" fmla="*/ 1039508 w 1242473"/>
                  <a:gd name="connsiteY130" fmla="*/ 798144 h 905111"/>
                  <a:gd name="connsiteX131" fmla="*/ 965453 w 1242473"/>
                  <a:gd name="connsiteY131" fmla="*/ 825572 h 905111"/>
                  <a:gd name="connsiteX132" fmla="*/ 965453 w 1242473"/>
                  <a:gd name="connsiteY132" fmla="*/ 713118 h 905111"/>
                  <a:gd name="connsiteX133" fmla="*/ 1020308 w 1242473"/>
                  <a:gd name="connsiteY133" fmla="*/ 735060 h 905111"/>
                  <a:gd name="connsiteX134" fmla="*/ 1039508 w 1242473"/>
                  <a:gd name="connsiteY134" fmla="*/ 715861 h 905111"/>
                  <a:gd name="connsiteX135" fmla="*/ 1020308 w 1242473"/>
                  <a:gd name="connsiteY135" fmla="*/ 696662 h 905111"/>
                  <a:gd name="connsiteX136" fmla="*/ 979167 w 1242473"/>
                  <a:gd name="connsiteY136" fmla="*/ 671977 h 905111"/>
                  <a:gd name="connsiteX137" fmla="*/ 916083 w 1242473"/>
                  <a:gd name="connsiteY137" fmla="*/ 633578 h 905111"/>
                  <a:gd name="connsiteX138" fmla="*/ 828314 w 1242473"/>
                  <a:gd name="connsiteY138" fmla="*/ 633578 h 905111"/>
                  <a:gd name="connsiteX139" fmla="*/ 803631 w 1242473"/>
                  <a:gd name="connsiteY139" fmla="*/ 608894 h 905111"/>
                  <a:gd name="connsiteX140" fmla="*/ 828314 w 1242473"/>
                  <a:gd name="connsiteY140" fmla="*/ 584208 h 905111"/>
                  <a:gd name="connsiteX141" fmla="*/ 888656 w 1242473"/>
                  <a:gd name="connsiteY141" fmla="*/ 584208 h 905111"/>
                  <a:gd name="connsiteX142" fmla="*/ 965453 w 1242473"/>
                  <a:gd name="connsiteY142" fmla="*/ 507411 h 905111"/>
                  <a:gd name="connsiteX143" fmla="*/ 1097107 w 1242473"/>
                  <a:gd name="connsiteY143" fmla="*/ 595180 h 905111"/>
                  <a:gd name="connsiteX144" fmla="*/ 1108077 w 1242473"/>
                  <a:gd name="connsiteY144" fmla="*/ 595180 h 905111"/>
                  <a:gd name="connsiteX145" fmla="*/ 1108077 w 1242473"/>
                  <a:gd name="connsiteY145" fmla="*/ 789916 h 905111"/>
                  <a:gd name="connsiteX146" fmla="*/ 1039508 w 1242473"/>
                  <a:gd name="connsiteY146" fmla="*/ 798144 h 905111"/>
                  <a:gd name="connsiteX147" fmla="*/ 1039508 w 1242473"/>
                  <a:gd name="connsiteY147" fmla="*/ 798144 h 905111"/>
                  <a:gd name="connsiteX148" fmla="*/ 1201332 w 1242473"/>
                  <a:gd name="connsiteY148" fmla="*/ 806372 h 905111"/>
                  <a:gd name="connsiteX149" fmla="*/ 1187618 w 1242473"/>
                  <a:gd name="connsiteY149" fmla="*/ 820086 h 905111"/>
                  <a:gd name="connsiteX150" fmla="*/ 1162932 w 1242473"/>
                  <a:gd name="connsiteY150" fmla="*/ 820086 h 905111"/>
                  <a:gd name="connsiteX151" fmla="*/ 1149219 w 1242473"/>
                  <a:gd name="connsiteY151" fmla="*/ 806372 h 905111"/>
                  <a:gd name="connsiteX152" fmla="*/ 1149219 w 1242473"/>
                  <a:gd name="connsiteY152" fmla="*/ 806372 h 905111"/>
                  <a:gd name="connsiteX153" fmla="*/ 1149219 w 1242473"/>
                  <a:gd name="connsiteY153" fmla="*/ 803629 h 905111"/>
                  <a:gd name="connsiteX154" fmla="*/ 1149219 w 1242473"/>
                  <a:gd name="connsiteY154" fmla="*/ 581466 h 905111"/>
                  <a:gd name="connsiteX155" fmla="*/ 1162932 w 1242473"/>
                  <a:gd name="connsiteY155" fmla="*/ 567752 h 905111"/>
                  <a:gd name="connsiteX156" fmla="*/ 1187618 w 1242473"/>
                  <a:gd name="connsiteY156" fmla="*/ 567752 h 905111"/>
                  <a:gd name="connsiteX157" fmla="*/ 1201332 w 1242473"/>
                  <a:gd name="connsiteY157" fmla="*/ 581466 h 905111"/>
                  <a:gd name="connsiteX158" fmla="*/ 1201332 w 1242473"/>
                  <a:gd name="connsiteY158" fmla="*/ 806372 h 90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1242473" h="905111">
                    <a:moveTo>
                      <a:pt x="1184874" y="532096"/>
                    </a:moveTo>
                    <a:lnTo>
                      <a:pt x="1160190" y="532096"/>
                    </a:lnTo>
                    <a:cubicBezTo>
                      <a:pt x="1140991" y="532096"/>
                      <a:pt x="1124535" y="543067"/>
                      <a:pt x="1116305" y="559524"/>
                    </a:cubicBezTo>
                    <a:lnTo>
                      <a:pt x="1099849" y="559524"/>
                    </a:lnTo>
                    <a:cubicBezTo>
                      <a:pt x="1047736" y="559524"/>
                      <a:pt x="1055965" y="488212"/>
                      <a:pt x="968197" y="471755"/>
                    </a:cubicBezTo>
                    <a:lnTo>
                      <a:pt x="968197" y="348331"/>
                    </a:lnTo>
                    <a:cubicBezTo>
                      <a:pt x="968197" y="337360"/>
                      <a:pt x="959969" y="329131"/>
                      <a:pt x="948997" y="329131"/>
                    </a:cubicBezTo>
                    <a:cubicBezTo>
                      <a:pt x="938025" y="329131"/>
                      <a:pt x="929797" y="337360"/>
                      <a:pt x="929797" y="348331"/>
                    </a:cubicBezTo>
                    <a:lnTo>
                      <a:pt x="929797" y="507411"/>
                    </a:lnTo>
                    <a:cubicBezTo>
                      <a:pt x="929797" y="529353"/>
                      <a:pt x="910597" y="548552"/>
                      <a:pt x="888656" y="548552"/>
                    </a:cubicBezTo>
                    <a:lnTo>
                      <a:pt x="828314" y="548552"/>
                    </a:lnTo>
                    <a:cubicBezTo>
                      <a:pt x="795403" y="548552"/>
                      <a:pt x="767975" y="575980"/>
                      <a:pt x="767975" y="608894"/>
                    </a:cubicBezTo>
                    <a:cubicBezTo>
                      <a:pt x="767975" y="641807"/>
                      <a:pt x="795403" y="669234"/>
                      <a:pt x="828314" y="669234"/>
                    </a:cubicBezTo>
                    <a:lnTo>
                      <a:pt x="916083" y="669234"/>
                    </a:lnTo>
                    <a:cubicBezTo>
                      <a:pt x="921569" y="669234"/>
                      <a:pt x="924311" y="669234"/>
                      <a:pt x="929797" y="671977"/>
                    </a:cubicBezTo>
                    <a:lnTo>
                      <a:pt x="929797" y="831057"/>
                    </a:lnTo>
                    <a:cubicBezTo>
                      <a:pt x="929797" y="850256"/>
                      <a:pt x="913341" y="866713"/>
                      <a:pt x="894142" y="866713"/>
                    </a:cubicBezTo>
                    <a:lnTo>
                      <a:pt x="345588" y="866713"/>
                    </a:lnTo>
                    <a:cubicBezTo>
                      <a:pt x="326388" y="866713"/>
                      <a:pt x="309932" y="850256"/>
                      <a:pt x="309932" y="831057"/>
                    </a:cubicBezTo>
                    <a:lnTo>
                      <a:pt x="309932" y="518382"/>
                    </a:lnTo>
                    <a:cubicBezTo>
                      <a:pt x="334616" y="521125"/>
                      <a:pt x="389472" y="521125"/>
                      <a:pt x="436099" y="521125"/>
                    </a:cubicBezTo>
                    <a:cubicBezTo>
                      <a:pt x="466270" y="521125"/>
                      <a:pt x="493698" y="496440"/>
                      <a:pt x="493698" y="463527"/>
                    </a:cubicBezTo>
                    <a:cubicBezTo>
                      <a:pt x="493698" y="452556"/>
                      <a:pt x="490954" y="441585"/>
                      <a:pt x="485468" y="433357"/>
                    </a:cubicBezTo>
                    <a:cubicBezTo>
                      <a:pt x="499182" y="422386"/>
                      <a:pt x="510154" y="405929"/>
                      <a:pt x="510154" y="386730"/>
                    </a:cubicBezTo>
                    <a:cubicBezTo>
                      <a:pt x="510154" y="375759"/>
                      <a:pt x="507412" y="367530"/>
                      <a:pt x="501926" y="356559"/>
                    </a:cubicBezTo>
                    <a:cubicBezTo>
                      <a:pt x="518382" y="345588"/>
                      <a:pt x="526610" y="329131"/>
                      <a:pt x="526610" y="309932"/>
                    </a:cubicBezTo>
                    <a:cubicBezTo>
                      <a:pt x="526610" y="296218"/>
                      <a:pt x="521126" y="282505"/>
                      <a:pt x="512896" y="271534"/>
                    </a:cubicBezTo>
                    <a:cubicBezTo>
                      <a:pt x="523868" y="260562"/>
                      <a:pt x="529354" y="246849"/>
                      <a:pt x="529354" y="233135"/>
                    </a:cubicBezTo>
                    <a:cubicBezTo>
                      <a:pt x="529354" y="233135"/>
                      <a:pt x="529354" y="233135"/>
                      <a:pt x="529354" y="233135"/>
                    </a:cubicBezTo>
                    <a:cubicBezTo>
                      <a:pt x="529354" y="202965"/>
                      <a:pt x="504668" y="175537"/>
                      <a:pt x="471755" y="175537"/>
                    </a:cubicBezTo>
                    <a:lnTo>
                      <a:pt x="326388" y="175537"/>
                    </a:lnTo>
                    <a:cubicBezTo>
                      <a:pt x="318160" y="175537"/>
                      <a:pt x="309932" y="167309"/>
                      <a:pt x="309932" y="159080"/>
                    </a:cubicBezTo>
                    <a:cubicBezTo>
                      <a:pt x="309932" y="150852"/>
                      <a:pt x="309932" y="191993"/>
                      <a:pt x="309932" y="71312"/>
                    </a:cubicBezTo>
                    <a:cubicBezTo>
                      <a:pt x="309932" y="52113"/>
                      <a:pt x="326388" y="35656"/>
                      <a:pt x="345588" y="35656"/>
                    </a:cubicBezTo>
                    <a:lnTo>
                      <a:pt x="757003" y="35656"/>
                    </a:lnTo>
                    <a:lnTo>
                      <a:pt x="757003" y="134396"/>
                    </a:lnTo>
                    <a:cubicBezTo>
                      <a:pt x="757003" y="175537"/>
                      <a:pt x="789917" y="208450"/>
                      <a:pt x="831058" y="208450"/>
                    </a:cubicBezTo>
                    <a:lnTo>
                      <a:pt x="929797" y="208450"/>
                    </a:lnTo>
                    <a:lnTo>
                      <a:pt x="929797" y="263305"/>
                    </a:lnTo>
                    <a:cubicBezTo>
                      <a:pt x="929797" y="274276"/>
                      <a:pt x="938025" y="282505"/>
                      <a:pt x="948997" y="282505"/>
                    </a:cubicBezTo>
                    <a:cubicBezTo>
                      <a:pt x="959969" y="282505"/>
                      <a:pt x="968197" y="274276"/>
                      <a:pt x="968197" y="263305"/>
                    </a:cubicBezTo>
                    <a:lnTo>
                      <a:pt x="968197" y="208450"/>
                    </a:lnTo>
                    <a:cubicBezTo>
                      <a:pt x="968197" y="194736"/>
                      <a:pt x="962711" y="181022"/>
                      <a:pt x="951739" y="170052"/>
                    </a:cubicBezTo>
                    <a:lnTo>
                      <a:pt x="798145" y="16457"/>
                    </a:lnTo>
                    <a:cubicBezTo>
                      <a:pt x="789917" y="8228"/>
                      <a:pt x="776203" y="0"/>
                      <a:pt x="759745" y="0"/>
                    </a:cubicBezTo>
                    <a:lnTo>
                      <a:pt x="345588" y="0"/>
                    </a:lnTo>
                    <a:cubicBezTo>
                      <a:pt x="304447" y="0"/>
                      <a:pt x="271533" y="32913"/>
                      <a:pt x="271533" y="74055"/>
                    </a:cubicBezTo>
                    <a:lnTo>
                      <a:pt x="271533" y="120682"/>
                    </a:lnTo>
                    <a:cubicBezTo>
                      <a:pt x="183764" y="137138"/>
                      <a:pt x="189250" y="208450"/>
                      <a:pt x="137138" y="208450"/>
                    </a:cubicBezTo>
                    <a:lnTo>
                      <a:pt x="120681" y="208450"/>
                    </a:lnTo>
                    <a:cubicBezTo>
                      <a:pt x="112453" y="191993"/>
                      <a:pt x="95997" y="181022"/>
                      <a:pt x="76797" y="181022"/>
                    </a:cubicBezTo>
                    <a:lnTo>
                      <a:pt x="52112" y="181022"/>
                    </a:lnTo>
                    <a:cubicBezTo>
                      <a:pt x="24684" y="181022"/>
                      <a:pt x="0" y="202965"/>
                      <a:pt x="0" y="233135"/>
                    </a:cubicBezTo>
                    <a:lnTo>
                      <a:pt x="0" y="455299"/>
                    </a:lnTo>
                    <a:cubicBezTo>
                      <a:pt x="0" y="482726"/>
                      <a:pt x="21942" y="507411"/>
                      <a:pt x="52112" y="507411"/>
                    </a:cubicBezTo>
                    <a:lnTo>
                      <a:pt x="76797" y="507411"/>
                    </a:lnTo>
                    <a:cubicBezTo>
                      <a:pt x="95997" y="507411"/>
                      <a:pt x="115195" y="496440"/>
                      <a:pt x="123425" y="479983"/>
                    </a:cubicBezTo>
                    <a:lnTo>
                      <a:pt x="167308" y="479983"/>
                    </a:lnTo>
                    <a:cubicBezTo>
                      <a:pt x="183764" y="479983"/>
                      <a:pt x="189250" y="485469"/>
                      <a:pt x="241363" y="504669"/>
                    </a:cubicBezTo>
                    <a:cubicBezTo>
                      <a:pt x="241363" y="504669"/>
                      <a:pt x="241363" y="504669"/>
                      <a:pt x="241363" y="504669"/>
                    </a:cubicBezTo>
                    <a:cubicBezTo>
                      <a:pt x="252333" y="507411"/>
                      <a:pt x="263305" y="512897"/>
                      <a:pt x="274277" y="512897"/>
                    </a:cubicBezTo>
                    <a:lnTo>
                      <a:pt x="274277" y="831057"/>
                    </a:lnTo>
                    <a:cubicBezTo>
                      <a:pt x="274277" y="872198"/>
                      <a:pt x="307189" y="905112"/>
                      <a:pt x="348330" y="905112"/>
                    </a:cubicBezTo>
                    <a:lnTo>
                      <a:pt x="896884" y="905112"/>
                    </a:lnTo>
                    <a:cubicBezTo>
                      <a:pt x="924311" y="905112"/>
                      <a:pt x="948997" y="888655"/>
                      <a:pt x="959969" y="866713"/>
                    </a:cubicBezTo>
                    <a:cubicBezTo>
                      <a:pt x="1001110" y="858485"/>
                      <a:pt x="1017566" y="847514"/>
                      <a:pt x="1055965" y="833800"/>
                    </a:cubicBezTo>
                    <a:cubicBezTo>
                      <a:pt x="1069679" y="828315"/>
                      <a:pt x="1077907" y="831057"/>
                      <a:pt x="1119049" y="831057"/>
                    </a:cubicBezTo>
                    <a:cubicBezTo>
                      <a:pt x="1127277" y="847514"/>
                      <a:pt x="1143733" y="858485"/>
                      <a:pt x="1165676" y="858485"/>
                    </a:cubicBezTo>
                    <a:lnTo>
                      <a:pt x="1190360" y="858485"/>
                    </a:lnTo>
                    <a:cubicBezTo>
                      <a:pt x="1217788" y="858485"/>
                      <a:pt x="1242473" y="836542"/>
                      <a:pt x="1242473" y="806372"/>
                    </a:cubicBezTo>
                    <a:lnTo>
                      <a:pt x="1242473" y="584208"/>
                    </a:lnTo>
                    <a:cubicBezTo>
                      <a:pt x="1236987" y="556781"/>
                      <a:pt x="1212302" y="532096"/>
                      <a:pt x="1184874" y="532096"/>
                    </a:cubicBezTo>
                    <a:lnTo>
                      <a:pt x="1184874" y="532096"/>
                    </a:lnTo>
                    <a:close/>
                    <a:moveTo>
                      <a:pt x="792659" y="139881"/>
                    </a:moveTo>
                    <a:lnTo>
                      <a:pt x="792659" y="65827"/>
                    </a:lnTo>
                    <a:cubicBezTo>
                      <a:pt x="809116" y="82283"/>
                      <a:pt x="885914" y="159080"/>
                      <a:pt x="902369" y="175537"/>
                    </a:cubicBezTo>
                    <a:lnTo>
                      <a:pt x="828314" y="175537"/>
                    </a:lnTo>
                    <a:cubicBezTo>
                      <a:pt x="809116" y="175537"/>
                      <a:pt x="792659" y="159080"/>
                      <a:pt x="792659" y="139881"/>
                    </a:cubicBezTo>
                    <a:lnTo>
                      <a:pt x="792659" y="139881"/>
                    </a:lnTo>
                    <a:close/>
                    <a:moveTo>
                      <a:pt x="164566" y="441585"/>
                    </a:moveTo>
                    <a:lnTo>
                      <a:pt x="126167" y="441585"/>
                    </a:lnTo>
                    <a:lnTo>
                      <a:pt x="126167" y="359302"/>
                    </a:lnTo>
                    <a:cubicBezTo>
                      <a:pt x="126167" y="348331"/>
                      <a:pt x="117939" y="340103"/>
                      <a:pt x="106967" y="340103"/>
                    </a:cubicBezTo>
                    <a:cubicBezTo>
                      <a:pt x="95997" y="340103"/>
                      <a:pt x="87767" y="348331"/>
                      <a:pt x="87767" y="359302"/>
                    </a:cubicBezTo>
                    <a:lnTo>
                      <a:pt x="87767" y="455299"/>
                    </a:lnTo>
                    <a:cubicBezTo>
                      <a:pt x="87767" y="455299"/>
                      <a:pt x="87767" y="455299"/>
                      <a:pt x="87767" y="458042"/>
                    </a:cubicBezTo>
                    <a:cubicBezTo>
                      <a:pt x="87767" y="458042"/>
                      <a:pt x="87767" y="458042"/>
                      <a:pt x="87767" y="458042"/>
                    </a:cubicBezTo>
                    <a:cubicBezTo>
                      <a:pt x="87767" y="466270"/>
                      <a:pt x="79539" y="471755"/>
                      <a:pt x="74053" y="471755"/>
                    </a:cubicBezTo>
                    <a:lnTo>
                      <a:pt x="49369" y="471755"/>
                    </a:lnTo>
                    <a:cubicBezTo>
                      <a:pt x="41142" y="471755"/>
                      <a:pt x="35656" y="466270"/>
                      <a:pt x="35656" y="458042"/>
                    </a:cubicBezTo>
                    <a:lnTo>
                      <a:pt x="35656" y="235878"/>
                    </a:lnTo>
                    <a:cubicBezTo>
                      <a:pt x="35656" y="227649"/>
                      <a:pt x="41142" y="222164"/>
                      <a:pt x="49369" y="222164"/>
                    </a:cubicBezTo>
                    <a:lnTo>
                      <a:pt x="74053" y="222164"/>
                    </a:lnTo>
                    <a:cubicBezTo>
                      <a:pt x="82283" y="222164"/>
                      <a:pt x="87767" y="227649"/>
                      <a:pt x="87767" y="235878"/>
                    </a:cubicBezTo>
                    <a:lnTo>
                      <a:pt x="87767" y="277019"/>
                    </a:lnTo>
                    <a:cubicBezTo>
                      <a:pt x="87767" y="287990"/>
                      <a:pt x="95997" y="296218"/>
                      <a:pt x="106967" y="296218"/>
                    </a:cubicBezTo>
                    <a:cubicBezTo>
                      <a:pt x="117939" y="296218"/>
                      <a:pt x="126167" y="287990"/>
                      <a:pt x="126167" y="277019"/>
                    </a:cubicBezTo>
                    <a:lnTo>
                      <a:pt x="126167" y="246849"/>
                    </a:lnTo>
                    <a:lnTo>
                      <a:pt x="137138" y="246849"/>
                    </a:lnTo>
                    <a:cubicBezTo>
                      <a:pt x="213936" y="246849"/>
                      <a:pt x="202964" y="175537"/>
                      <a:pt x="271533" y="159080"/>
                    </a:cubicBezTo>
                    <a:lnTo>
                      <a:pt x="271533" y="161823"/>
                    </a:lnTo>
                    <a:cubicBezTo>
                      <a:pt x="271533" y="191993"/>
                      <a:pt x="296219" y="213936"/>
                      <a:pt x="323646" y="213936"/>
                    </a:cubicBezTo>
                    <a:lnTo>
                      <a:pt x="469013" y="213936"/>
                    </a:lnTo>
                    <a:cubicBezTo>
                      <a:pt x="479984" y="213936"/>
                      <a:pt x="488212" y="222164"/>
                      <a:pt x="488212" y="233135"/>
                    </a:cubicBezTo>
                    <a:cubicBezTo>
                      <a:pt x="488212" y="233135"/>
                      <a:pt x="488212" y="233135"/>
                      <a:pt x="488212" y="233135"/>
                    </a:cubicBezTo>
                    <a:cubicBezTo>
                      <a:pt x="488212" y="233135"/>
                      <a:pt x="488212" y="233135"/>
                      <a:pt x="488212" y="233135"/>
                    </a:cubicBezTo>
                    <a:cubicBezTo>
                      <a:pt x="488212" y="244106"/>
                      <a:pt x="479984" y="252334"/>
                      <a:pt x="469013" y="252334"/>
                    </a:cubicBezTo>
                    <a:lnTo>
                      <a:pt x="469013" y="252334"/>
                    </a:lnTo>
                    <a:cubicBezTo>
                      <a:pt x="469013" y="252334"/>
                      <a:pt x="469013" y="252334"/>
                      <a:pt x="469013" y="252334"/>
                    </a:cubicBezTo>
                    <a:cubicBezTo>
                      <a:pt x="466270" y="252334"/>
                      <a:pt x="477241" y="252334"/>
                      <a:pt x="326388" y="252334"/>
                    </a:cubicBezTo>
                    <a:cubicBezTo>
                      <a:pt x="315418" y="252334"/>
                      <a:pt x="307189" y="260562"/>
                      <a:pt x="307189" y="271534"/>
                    </a:cubicBezTo>
                    <a:cubicBezTo>
                      <a:pt x="307189" y="282505"/>
                      <a:pt x="315418" y="290733"/>
                      <a:pt x="326388" y="290733"/>
                    </a:cubicBezTo>
                    <a:cubicBezTo>
                      <a:pt x="362044" y="290733"/>
                      <a:pt x="466270" y="290733"/>
                      <a:pt x="469013" y="290733"/>
                    </a:cubicBezTo>
                    <a:cubicBezTo>
                      <a:pt x="479984" y="290733"/>
                      <a:pt x="488212" y="298961"/>
                      <a:pt x="488212" y="309932"/>
                    </a:cubicBezTo>
                    <a:cubicBezTo>
                      <a:pt x="488212" y="320904"/>
                      <a:pt x="479984" y="329131"/>
                      <a:pt x="469013" y="329131"/>
                    </a:cubicBezTo>
                    <a:cubicBezTo>
                      <a:pt x="438843" y="329131"/>
                      <a:pt x="359302" y="329131"/>
                      <a:pt x="329132" y="329131"/>
                    </a:cubicBezTo>
                    <a:cubicBezTo>
                      <a:pt x="318160" y="329131"/>
                      <a:pt x="309932" y="337360"/>
                      <a:pt x="309932" y="348331"/>
                    </a:cubicBezTo>
                    <a:cubicBezTo>
                      <a:pt x="309932" y="359302"/>
                      <a:pt x="318160" y="367530"/>
                      <a:pt x="329132" y="367530"/>
                    </a:cubicBezTo>
                    <a:lnTo>
                      <a:pt x="452557" y="367530"/>
                    </a:lnTo>
                    <a:cubicBezTo>
                      <a:pt x="463527" y="367530"/>
                      <a:pt x="471755" y="375759"/>
                      <a:pt x="471755" y="386730"/>
                    </a:cubicBezTo>
                    <a:cubicBezTo>
                      <a:pt x="471755" y="397701"/>
                      <a:pt x="463527" y="405929"/>
                      <a:pt x="452557" y="405929"/>
                    </a:cubicBezTo>
                    <a:cubicBezTo>
                      <a:pt x="425129" y="405929"/>
                      <a:pt x="373016" y="405929"/>
                      <a:pt x="329132" y="405929"/>
                    </a:cubicBezTo>
                    <a:cubicBezTo>
                      <a:pt x="318160" y="405929"/>
                      <a:pt x="309932" y="414157"/>
                      <a:pt x="309932" y="425128"/>
                    </a:cubicBezTo>
                    <a:cubicBezTo>
                      <a:pt x="309932" y="436099"/>
                      <a:pt x="318160" y="444328"/>
                      <a:pt x="329132" y="444328"/>
                    </a:cubicBezTo>
                    <a:lnTo>
                      <a:pt x="436099" y="444328"/>
                    </a:lnTo>
                    <a:cubicBezTo>
                      <a:pt x="447071" y="444328"/>
                      <a:pt x="455299" y="452556"/>
                      <a:pt x="455299" y="463527"/>
                    </a:cubicBezTo>
                    <a:cubicBezTo>
                      <a:pt x="455299" y="474498"/>
                      <a:pt x="447071" y="482726"/>
                      <a:pt x="436099" y="482726"/>
                    </a:cubicBezTo>
                    <a:cubicBezTo>
                      <a:pt x="334616" y="482726"/>
                      <a:pt x="301704" y="485469"/>
                      <a:pt x="252333" y="469013"/>
                    </a:cubicBezTo>
                    <a:cubicBezTo>
                      <a:pt x="202964" y="452556"/>
                      <a:pt x="191994" y="441585"/>
                      <a:pt x="164566" y="441585"/>
                    </a:cubicBezTo>
                    <a:lnTo>
                      <a:pt x="164566" y="441585"/>
                    </a:lnTo>
                    <a:close/>
                    <a:moveTo>
                      <a:pt x="1039508" y="798144"/>
                    </a:moveTo>
                    <a:cubicBezTo>
                      <a:pt x="995624" y="814601"/>
                      <a:pt x="990138" y="820086"/>
                      <a:pt x="965453" y="825572"/>
                    </a:cubicBezTo>
                    <a:lnTo>
                      <a:pt x="965453" y="713118"/>
                    </a:lnTo>
                    <a:cubicBezTo>
                      <a:pt x="979167" y="726832"/>
                      <a:pt x="1001110" y="735060"/>
                      <a:pt x="1020308" y="735060"/>
                    </a:cubicBezTo>
                    <a:cubicBezTo>
                      <a:pt x="1031280" y="735060"/>
                      <a:pt x="1039508" y="726832"/>
                      <a:pt x="1039508" y="715861"/>
                    </a:cubicBezTo>
                    <a:cubicBezTo>
                      <a:pt x="1039508" y="704890"/>
                      <a:pt x="1031280" y="696662"/>
                      <a:pt x="1020308" y="696662"/>
                    </a:cubicBezTo>
                    <a:cubicBezTo>
                      <a:pt x="1003852" y="696662"/>
                      <a:pt x="987396" y="685691"/>
                      <a:pt x="979167" y="671977"/>
                    </a:cubicBezTo>
                    <a:cubicBezTo>
                      <a:pt x="968197" y="647292"/>
                      <a:pt x="943511" y="633578"/>
                      <a:pt x="916083" y="633578"/>
                    </a:cubicBezTo>
                    <a:lnTo>
                      <a:pt x="828314" y="633578"/>
                    </a:lnTo>
                    <a:cubicBezTo>
                      <a:pt x="814601" y="633578"/>
                      <a:pt x="803631" y="622607"/>
                      <a:pt x="803631" y="608894"/>
                    </a:cubicBezTo>
                    <a:cubicBezTo>
                      <a:pt x="803631" y="595180"/>
                      <a:pt x="814601" y="584208"/>
                      <a:pt x="828314" y="584208"/>
                    </a:cubicBezTo>
                    <a:lnTo>
                      <a:pt x="888656" y="584208"/>
                    </a:lnTo>
                    <a:cubicBezTo>
                      <a:pt x="929797" y="584208"/>
                      <a:pt x="965453" y="548552"/>
                      <a:pt x="965453" y="507411"/>
                    </a:cubicBezTo>
                    <a:cubicBezTo>
                      <a:pt x="1031280" y="523868"/>
                      <a:pt x="1023052" y="595180"/>
                      <a:pt x="1097107" y="595180"/>
                    </a:cubicBezTo>
                    <a:lnTo>
                      <a:pt x="1108077" y="595180"/>
                    </a:lnTo>
                    <a:lnTo>
                      <a:pt x="1108077" y="789916"/>
                    </a:lnTo>
                    <a:cubicBezTo>
                      <a:pt x="1077907" y="792659"/>
                      <a:pt x="1061450" y="789916"/>
                      <a:pt x="1039508" y="798144"/>
                    </a:cubicBezTo>
                    <a:lnTo>
                      <a:pt x="1039508" y="798144"/>
                    </a:lnTo>
                    <a:close/>
                    <a:moveTo>
                      <a:pt x="1201332" y="806372"/>
                    </a:moveTo>
                    <a:cubicBezTo>
                      <a:pt x="1201332" y="814601"/>
                      <a:pt x="1195846" y="820086"/>
                      <a:pt x="1187618" y="820086"/>
                    </a:cubicBezTo>
                    <a:lnTo>
                      <a:pt x="1162932" y="820086"/>
                    </a:lnTo>
                    <a:cubicBezTo>
                      <a:pt x="1154704" y="820086"/>
                      <a:pt x="1149219" y="814601"/>
                      <a:pt x="1149219" y="806372"/>
                    </a:cubicBezTo>
                    <a:cubicBezTo>
                      <a:pt x="1149219" y="806372"/>
                      <a:pt x="1149219" y="806372"/>
                      <a:pt x="1149219" y="806372"/>
                    </a:cubicBezTo>
                    <a:cubicBezTo>
                      <a:pt x="1149219" y="806372"/>
                      <a:pt x="1149219" y="806372"/>
                      <a:pt x="1149219" y="803629"/>
                    </a:cubicBezTo>
                    <a:lnTo>
                      <a:pt x="1149219" y="581466"/>
                    </a:lnTo>
                    <a:cubicBezTo>
                      <a:pt x="1149219" y="573238"/>
                      <a:pt x="1154704" y="567752"/>
                      <a:pt x="1162932" y="567752"/>
                    </a:cubicBezTo>
                    <a:lnTo>
                      <a:pt x="1187618" y="567752"/>
                    </a:lnTo>
                    <a:cubicBezTo>
                      <a:pt x="1195846" y="567752"/>
                      <a:pt x="1201332" y="573238"/>
                      <a:pt x="1201332" y="581466"/>
                    </a:cubicBezTo>
                    <a:lnTo>
                      <a:pt x="1201332" y="806372"/>
                    </a:lnTo>
                    <a:close/>
                  </a:path>
                </a:pathLst>
              </a:custGeom>
              <a:grpFill/>
              <a:ln w="27426" cap="flat">
                <a:noFill/>
                <a:prstDash val="solid"/>
                <a:miter/>
              </a:ln>
            </p:spPr>
            <p:txBody>
              <a:bodyPr rtlCol="0" anchor="ctr"/>
              <a:lstStyle/>
              <a:p>
                <a:endParaRPr lang="en-US"/>
              </a:p>
            </p:txBody>
          </p:sp>
        </p:grpSp>
      </p:grpSp>
      <p:grpSp>
        <p:nvGrpSpPr>
          <p:cNvPr id="34" name="Graphic 3">
            <a:extLst>
              <a:ext uri="{FF2B5EF4-FFF2-40B4-BE49-F238E27FC236}">
                <a16:creationId xmlns:a16="http://schemas.microsoft.com/office/drawing/2014/main" id="{6B441AA2-51AA-9874-A335-E2D6F70D3B82}"/>
              </a:ext>
            </a:extLst>
          </p:cNvPr>
          <p:cNvGrpSpPr/>
          <p:nvPr/>
        </p:nvGrpSpPr>
        <p:grpSpPr>
          <a:xfrm>
            <a:off x="4490519" y="5360275"/>
            <a:ext cx="744248" cy="839839"/>
            <a:chOff x="4643578" y="432838"/>
            <a:chExt cx="1028134" cy="1160188"/>
          </a:xfrm>
          <a:solidFill>
            <a:srgbClr val="595959"/>
          </a:solidFill>
        </p:grpSpPr>
        <p:sp>
          <p:nvSpPr>
            <p:cNvPr id="35" name="Freeform 34">
              <a:extLst>
                <a:ext uri="{FF2B5EF4-FFF2-40B4-BE49-F238E27FC236}">
                  <a16:creationId xmlns:a16="http://schemas.microsoft.com/office/drawing/2014/main" id="{6F96778C-2591-96A1-4822-96D2A1C81792}"/>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F16924"/>
            </a:solidFill>
            <a:ln w="27426" cap="flat">
              <a:noFill/>
              <a:prstDash val="solid"/>
              <a:miter/>
            </a:ln>
          </p:spPr>
          <p:txBody>
            <a:bodyPr rtlCol="0" anchor="ctr"/>
            <a:lstStyle/>
            <a:p>
              <a:endParaRPr lang="en-US"/>
            </a:p>
          </p:txBody>
        </p:sp>
        <p:grpSp>
          <p:nvGrpSpPr>
            <p:cNvPr id="36" name="Graphic 3">
              <a:extLst>
                <a:ext uri="{FF2B5EF4-FFF2-40B4-BE49-F238E27FC236}">
                  <a16:creationId xmlns:a16="http://schemas.microsoft.com/office/drawing/2014/main" id="{097622EF-D87D-497D-527C-073DBFCD600E}"/>
                </a:ext>
              </a:extLst>
            </p:cNvPr>
            <p:cNvGrpSpPr/>
            <p:nvPr/>
          </p:nvGrpSpPr>
          <p:grpSpPr>
            <a:xfrm>
              <a:off x="4643578" y="432838"/>
              <a:ext cx="1028134" cy="1160188"/>
              <a:chOff x="4643578" y="432838"/>
              <a:chExt cx="1028134" cy="1160188"/>
            </a:xfrm>
            <a:grpFill/>
          </p:grpSpPr>
          <p:sp>
            <p:nvSpPr>
              <p:cNvPr id="37" name="Freeform 36">
                <a:extLst>
                  <a:ext uri="{FF2B5EF4-FFF2-40B4-BE49-F238E27FC236}">
                    <a16:creationId xmlns:a16="http://schemas.microsoft.com/office/drawing/2014/main" id="{60B84749-D723-7A0D-DAD8-FA795166C8B8}"/>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38" name="Graphic 3">
                <a:extLst>
                  <a:ext uri="{FF2B5EF4-FFF2-40B4-BE49-F238E27FC236}">
                    <a16:creationId xmlns:a16="http://schemas.microsoft.com/office/drawing/2014/main" id="{2EA07441-11D2-5C1E-E8B0-569A899709BA}"/>
                  </a:ext>
                </a:extLst>
              </p:cNvPr>
              <p:cNvGrpSpPr/>
              <p:nvPr/>
            </p:nvGrpSpPr>
            <p:grpSpPr>
              <a:xfrm>
                <a:off x="4643578" y="432838"/>
                <a:ext cx="1028134" cy="1160188"/>
                <a:chOff x="4643578" y="432838"/>
                <a:chExt cx="1028134" cy="1160188"/>
              </a:xfrm>
              <a:grpFill/>
            </p:grpSpPr>
            <p:sp>
              <p:nvSpPr>
                <p:cNvPr id="39" name="Freeform 38">
                  <a:extLst>
                    <a:ext uri="{FF2B5EF4-FFF2-40B4-BE49-F238E27FC236}">
                      <a16:creationId xmlns:a16="http://schemas.microsoft.com/office/drawing/2014/main" id="{D6B3BEB1-4CE7-579B-EDBB-46D170309C7D}"/>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420E66A3-D16C-02B5-A801-EF0056259802}"/>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cxnSp>
        <p:nvCxnSpPr>
          <p:cNvPr id="76" name="Straight Connector 75">
            <a:extLst>
              <a:ext uri="{FF2B5EF4-FFF2-40B4-BE49-F238E27FC236}">
                <a16:creationId xmlns:a16="http://schemas.microsoft.com/office/drawing/2014/main" id="{0C65C96E-43E4-11A1-C292-563815262EE9}"/>
              </a:ext>
            </a:extLst>
          </p:cNvPr>
          <p:cNvCxnSpPr>
            <a:cxnSpLocks/>
          </p:cNvCxnSpPr>
          <p:nvPr/>
        </p:nvCxnSpPr>
        <p:spPr>
          <a:xfrm>
            <a:off x="3953023" y="1705807"/>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D961CB0-1D39-7604-9FE9-B53575F44757}"/>
              </a:ext>
            </a:extLst>
          </p:cNvPr>
          <p:cNvCxnSpPr>
            <a:cxnSpLocks/>
          </p:cNvCxnSpPr>
          <p:nvPr/>
        </p:nvCxnSpPr>
        <p:spPr>
          <a:xfrm>
            <a:off x="3974998" y="3209664"/>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3CFBF68-2771-2571-D821-F2CCC76C215B}"/>
              </a:ext>
            </a:extLst>
          </p:cNvPr>
          <p:cNvCxnSpPr>
            <a:cxnSpLocks/>
          </p:cNvCxnSpPr>
          <p:nvPr/>
        </p:nvCxnSpPr>
        <p:spPr>
          <a:xfrm>
            <a:off x="3953023" y="4809973"/>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1173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927ADD-EC99-3527-9DF1-A82E200C24BC}"/>
              </a:ext>
            </a:extLst>
          </p:cNvPr>
          <p:cNvSpPr>
            <a:spLocks noGrp="1"/>
          </p:cNvSpPr>
          <p:nvPr>
            <p:ph type="body" sz="quarter" idx="18"/>
          </p:nvPr>
        </p:nvSpPr>
        <p:spPr>
          <a:xfrm>
            <a:off x="518039" y="3157239"/>
            <a:ext cx="3613090" cy="3157772"/>
          </a:xfrm>
        </p:spPr>
        <p:txBody>
          <a:bodyPr>
            <a:normAutofit/>
          </a:bodyPr>
          <a:lstStyle/>
          <a:p>
            <a:pPr marL="14288" indent="-14288"/>
            <a:r>
              <a:rPr lang="en-US" sz="2000" dirty="0"/>
              <a:t>Το πρώτο βήμα για την επίλυση ενός προβλήματος είναι να γνωρίζετε τι πρέπει να αντιμετωπίσετε. Ο όρος κρίση δεν ορίζεται ομοιόμορφα στην ακαδημαϊκή βιβλιογραφία, αλλά υπάρχει γενική συμφωνία όσον αφορά την περιγραφή των επιπτώσεων μιας κρίσης σε μια επιχείρηση.</a:t>
            </a:r>
          </a:p>
          <a:p>
            <a:endParaRPr lang="en-US" sz="2000" dirty="0"/>
          </a:p>
          <a:p>
            <a:endParaRPr lang="en-US" sz="2200" dirty="0"/>
          </a:p>
        </p:txBody>
      </p:sp>
      <p:sp>
        <p:nvSpPr>
          <p:cNvPr id="2" name="Textplatzhalter 1">
            <a:extLst>
              <a:ext uri="{FF2B5EF4-FFF2-40B4-BE49-F238E27FC236}">
                <a16:creationId xmlns:a16="http://schemas.microsoft.com/office/drawing/2014/main" id="{79441155-F233-4D7B-BE18-27144DF2C0A2}"/>
              </a:ext>
            </a:extLst>
          </p:cNvPr>
          <p:cNvSpPr>
            <a:spLocks noGrp="1"/>
          </p:cNvSpPr>
          <p:nvPr>
            <p:ph type="body" sz="quarter" idx="16"/>
          </p:nvPr>
        </p:nvSpPr>
        <p:spPr>
          <a:xfrm>
            <a:off x="529758" y="642971"/>
            <a:ext cx="3897349" cy="2361485"/>
          </a:xfrm>
        </p:spPr>
        <p:txBody>
          <a:bodyPr>
            <a:normAutofit/>
          </a:bodyPr>
          <a:lstStyle/>
          <a:p>
            <a:r>
              <a:rPr lang="en-US" b="1" dirty="0"/>
              <a:t>Τι ορίζει μια επιχειρηματική κρίση;  </a:t>
            </a:r>
            <a:r>
              <a:rPr lang="en-US" b="1" dirty="0">
                <a:solidFill>
                  <a:srgbClr val="B41F7A"/>
                </a:solidFill>
              </a:rPr>
              <a:t>Σημαντικοί ορισμοί</a:t>
            </a:r>
          </a:p>
          <a:p>
            <a:endParaRPr lang="en-GB" dirty="0"/>
          </a:p>
        </p:txBody>
      </p:sp>
      <p:sp>
        <p:nvSpPr>
          <p:cNvPr id="8" name="Shape 348">
            <a:extLst>
              <a:ext uri="{FF2B5EF4-FFF2-40B4-BE49-F238E27FC236}">
                <a16:creationId xmlns:a16="http://schemas.microsoft.com/office/drawing/2014/main" id="{B0732C3B-2512-4BE2-A51C-5A611032A824}"/>
              </a:ext>
            </a:extLst>
          </p:cNvPr>
          <p:cNvSpPr/>
          <p:nvPr/>
        </p:nvSpPr>
        <p:spPr>
          <a:xfrm>
            <a:off x="4427107" y="0"/>
            <a:ext cx="7764893" cy="6892976"/>
          </a:xfrm>
          <a:prstGeom prst="rect">
            <a:avLst/>
          </a:prstGeom>
          <a:solidFill>
            <a:srgbClr val="B41F7A"/>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4" name="TextBox 23">
            <a:extLst>
              <a:ext uri="{FF2B5EF4-FFF2-40B4-BE49-F238E27FC236}">
                <a16:creationId xmlns:a16="http://schemas.microsoft.com/office/drawing/2014/main" id="{C5D7FD72-497C-4F23-997B-D8242B4826B6}"/>
              </a:ext>
            </a:extLst>
          </p:cNvPr>
          <p:cNvSpPr txBox="1"/>
          <p:nvPr/>
        </p:nvSpPr>
        <p:spPr>
          <a:xfrm>
            <a:off x="4527146" y="237957"/>
            <a:ext cx="7258708" cy="7055778"/>
          </a:xfrm>
          <a:prstGeom prst="rect">
            <a:avLst/>
          </a:prstGeom>
          <a:noFill/>
        </p:spPr>
        <p:txBody>
          <a:bodyPr wrap="square" rtlCol="0" anchor="ctr">
            <a:spAutoFit/>
          </a:bodyPr>
          <a:lstStyle/>
          <a:p>
            <a:r>
              <a:rPr lang="en-GB" sz="2000" b="1" dirty="0">
                <a:solidFill>
                  <a:schemeClr val="bg1"/>
                </a:solidFill>
                <a:highlight>
                  <a:srgbClr val="F16924"/>
                </a:highlight>
                <a:latin typeface="Calibri" panose="020F0502020204030204" pitchFamily="34" charset="0"/>
                <a:cs typeface="Calibri" panose="020F0502020204030204" pitchFamily="34" charset="0"/>
              </a:rPr>
              <a:t> </a:t>
            </a:r>
            <a:r>
              <a:rPr lang="en-GB" b="1" dirty="0">
                <a:solidFill>
                  <a:schemeClr val="bg1"/>
                </a:solidFill>
                <a:highlight>
                  <a:srgbClr val="F16924"/>
                </a:highlight>
                <a:latin typeface="Calibri" panose="020F0502020204030204" pitchFamily="34" charset="0"/>
                <a:cs typeface="Calibri" panose="020F0502020204030204" pitchFamily="34" charset="0"/>
              </a:rPr>
              <a:t>Διαχείριση κρίσεων </a:t>
            </a:r>
            <a:r>
              <a:rPr lang="en-GB" b="1" dirty="0">
                <a:solidFill>
                  <a:srgbClr val="F16924"/>
                </a:solidFill>
                <a:highlight>
                  <a:srgbClr val="F16924"/>
                </a:highlight>
                <a:latin typeface="Calibri" panose="020F0502020204030204" pitchFamily="34" charset="0"/>
                <a:cs typeface="Calibri" panose="020F0502020204030204" pitchFamily="34" charset="0"/>
              </a:rPr>
              <a:t>.</a:t>
            </a:r>
            <a:r>
              <a:rPr lang="el-GR" dirty="0">
                <a:solidFill>
                  <a:schemeClr val="bg1"/>
                </a:solidFill>
                <a:latin typeface="Calibri" panose="020F0502020204030204" pitchFamily="34" charset="0"/>
                <a:cs typeface="Calibri" panose="020F0502020204030204" pitchFamily="34" charset="0"/>
              </a:rPr>
              <a:t>Η δ</a:t>
            </a:r>
            <a:r>
              <a:rPr lang="en-GB" dirty="0">
                <a:solidFill>
                  <a:schemeClr val="bg1"/>
                </a:solidFill>
                <a:latin typeface="Calibri" panose="020F0502020204030204" pitchFamily="34" charset="0"/>
                <a:cs typeface="Calibri" panose="020F0502020204030204" pitchFamily="34" charset="0"/>
              </a:rPr>
              <a:t>ια</a:t>
            </a:r>
            <a:r>
              <a:rPr lang="en-GB" dirty="0" err="1">
                <a:solidFill>
                  <a:schemeClr val="bg1"/>
                </a:solidFill>
                <a:latin typeface="Calibri" panose="020F0502020204030204" pitchFamily="34" charset="0"/>
                <a:cs typeface="Calibri" panose="020F0502020204030204" pitchFamily="34" charset="0"/>
              </a:rPr>
              <a:t>χείριση</a:t>
            </a:r>
            <a:r>
              <a:rPr lang="en-GB" dirty="0">
                <a:solidFill>
                  <a:schemeClr val="bg1"/>
                </a:solidFill>
                <a:latin typeface="Calibri" panose="020F0502020204030204" pitchFamily="34" charset="0"/>
                <a:cs typeface="Calibri" panose="020F0502020204030204" pitchFamily="34" charset="0"/>
              </a:rPr>
              <a:t> κρίσεων ορίζεται ως μια συστηματική διαδικασία, η οποία υποστηρίζεται τόσο από εσωτερικούς όσο και από εξωτερικούς ενδιαφερόμενους φορείς, για την ανίχνευση σημάτων κρίσης, την πρόληψη και την προετοιμασία για πιθανές ζημίες, καθώς και την ανάκαμψη και τη μάθηση από την κρίση </a:t>
            </a:r>
            <a:r>
              <a:rPr lang="en-GB" sz="1050" dirty="0">
                <a:solidFill>
                  <a:schemeClr val="bg1"/>
                </a:solidFill>
                <a:latin typeface="Calibri" panose="020F0502020204030204" pitchFamily="34" charset="0"/>
                <a:cs typeface="Calibri" panose="020F0502020204030204" pitchFamily="34" charset="0"/>
              </a:rPr>
              <a:t>(Mitroff, 1988- Pearson και Mitroff, 1993- Pearson και Claire, 1998) τόσο για αρνητικές όσο και για θετικές επιπτώσεις (Fink, 1986- Shrivastava, 1993). </a:t>
            </a:r>
            <a:endParaRPr lang="en-GB"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endParaRPr lang="en-GB"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r>
              <a:rPr lang="en-GB" b="1" dirty="0">
                <a:solidFill>
                  <a:schemeClr val="bg1"/>
                </a:solidFill>
                <a:highlight>
                  <a:srgbClr val="F16924"/>
                </a:highlight>
                <a:latin typeface="Calibri" panose="020F0502020204030204" pitchFamily="34" charset="0"/>
                <a:cs typeface="Calibri" panose="020F0502020204030204" pitchFamily="34" charset="0"/>
              </a:rPr>
              <a:t> Μηχανισμοί έγκαιρης ανίχνευσης </a:t>
            </a:r>
            <a:r>
              <a:rPr lang="el-GR" dirty="0">
                <a:solidFill>
                  <a:schemeClr val="bg1"/>
                </a:solidFill>
                <a:latin typeface="Calibri" panose="020F0502020204030204" pitchFamily="34" charset="0"/>
                <a:cs typeface="Calibri" panose="020F0502020204030204" pitchFamily="34" charset="0"/>
              </a:rPr>
              <a:t>Τα σ</a:t>
            </a:r>
            <a:r>
              <a:rPr lang="en-GB" dirty="0" err="1">
                <a:solidFill>
                  <a:schemeClr val="bg1"/>
                </a:solidFill>
                <a:latin typeface="Calibri" panose="020F0502020204030204" pitchFamily="34" charset="0"/>
                <a:cs typeface="Calibri" panose="020F0502020204030204" pitchFamily="34" charset="0"/>
              </a:rPr>
              <a:t>υστήμ</a:t>
            </a:r>
            <a:r>
              <a:rPr lang="en-GB" dirty="0">
                <a:solidFill>
                  <a:schemeClr val="bg1"/>
                </a:solidFill>
                <a:latin typeface="Calibri" panose="020F0502020204030204" pitchFamily="34" charset="0"/>
                <a:cs typeface="Calibri" panose="020F0502020204030204" pitchFamily="34" charset="0"/>
              </a:rPr>
              <a:t>ατα έγκαιρης προειδοποίησης χρησιμοποιούνται κυρίως για την ανίχνευση κρίσεων πριν από την πρόκληση ζημιών</a:t>
            </a:r>
            <a:endParaRPr lang="en-GB" b="1" dirty="0">
              <a:solidFill>
                <a:schemeClr val="bg1"/>
              </a:solidFill>
              <a:highlight>
                <a:srgbClr val="F16924"/>
              </a:highlight>
              <a:latin typeface="Calibri" panose="020F0502020204030204" pitchFamily="34" charset="0"/>
              <a:cs typeface="Calibri" panose="020F0502020204030204" pitchFamily="34" charset="0"/>
            </a:endParaRPr>
          </a:p>
          <a:p>
            <a:endParaRPr lang="en-GB" b="1" dirty="0">
              <a:solidFill>
                <a:schemeClr val="bg1"/>
              </a:solidFill>
              <a:highlight>
                <a:srgbClr val="F16924"/>
              </a:highlight>
              <a:latin typeface="Calibri" panose="020F0502020204030204" pitchFamily="34" charset="0"/>
              <a:cs typeface="Calibri" panose="020F0502020204030204" pitchFamily="34" charset="0"/>
            </a:endParaRPr>
          </a:p>
          <a:p>
            <a:r>
              <a:rPr lang="en-GB" b="1" dirty="0">
                <a:solidFill>
                  <a:schemeClr val="bg1"/>
                </a:solidFill>
                <a:highlight>
                  <a:srgbClr val="F16924"/>
                </a:highlight>
                <a:latin typeface="Calibri" panose="020F0502020204030204" pitchFamily="34" charset="0"/>
                <a:cs typeface="Calibri" panose="020F0502020204030204" pitchFamily="34" charset="0"/>
              </a:rPr>
              <a:t>Αφερεγγυότητα </a:t>
            </a:r>
            <a:r>
              <a:rPr lang="en-GB" b="1" dirty="0">
                <a:solidFill>
                  <a:srgbClr val="F16924"/>
                </a:solidFill>
                <a:highlight>
                  <a:srgbClr val="F16924"/>
                </a:highlight>
                <a:latin typeface="Calibri" panose="020F0502020204030204" pitchFamily="34" charset="0"/>
                <a:cs typeface="Calibri" panose="020F0502020204030204" pitchFamily="34" charset="0"/>
              </a:rPr>
              <a:t>. </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Με μια απλουστευμένη νομική έννοια: αφερεγγυότητα είναι η αδυναμία μόνιμης εκπλήρωσης των υφιστάμενων οικονομικών υποχρεώσεων. Μορφές αφερεγγυότητας είναι η αδυναμία πληρωμής και η υπερχρέωση.  Η αφερεγγυότητα είναι εξ ορισμού μια δικαστική διαδικασία</a:t>
            </a:r>
          </a:p>
          <a:p>
            <a:endParaRPr lang="en-GB"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r>
              <a:rPr lang="en-GB" b="1" dirty="0">
                <a:solidFill>
                  <a:schemeClr val="bg1"/>
                </a:solidFill>
                <a:highlight>
                  <a:srgbClr val="F16924"/>
                </a:highlight>
                <a:latin typeface="Calibri" panose="020F0502020204030204" pitchFamily="34" charset="0"/>
                <a:cs typeface="Calibri" panose="020F0502020204030204" pitchFamily="34" charset="0"/>
              </a:rPr>
              <a:t>Η διαχείριση εξυγίανσης </a:t>
            </a:r>
            <a:r>
              <a:rPr lang="en-GB" b="1" dirty="0">
                <a:solidFill>
                  <a:srgbClr val="F16924"/>
                </a:solidFill>
                <a:highlight>
                  <a:srgbClr val="F16924"/>
                </a:highlight>
                <a:latin typeface="Calibri" panose="020F0502020204030204" pitchFamily="34" charset="0"/>
                <a:cs typeface="Calibri" panose="020F0502020204030204" pitchFamily="34" charset="0"/>
              </a:rPr>
              <a:t>. </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είναι η εφαρμογή μιας σειράς αναγκαίων μέτρων για την προστασία της επιχείρησης από την αφερεγγυότητα και την επιστροφή της στη λειτουργική ομαλότητα και τη φερεγγυότητα.  Η διαχείριση της εξυγίανσης απαιτεί συνήθως ισχυρή ηγεσία και μπορεί να περιλαμβάνει αναδιάρθρωση και απολύσεις, διερεύνηση των βαθύτερων αιτιών της αποτυχίας &amp; μακροπρόθεσμα προγράμματα για την αναζωογόνηση της επιχείρησης.</a:t>
            </a:r>
          </a:p>
          <a:p>
            <a:endParaRPr lang="en-GB" sz="20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endParaRPr lang="en-GB" sz="22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37CA4AEC-7EBB-E180-455A-FC770FCFCBE4}"/>
              </a:ext>
            </a:extLst>
          </p:cNvPr>
          <p:cNvSpPr/>
          <p:nvPr/>
        </p:nvSpPr>
        <p:spPr>
          <a:xfrm>
            <a:off x="629797" y="2917730"/>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9806462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26</TotalTime>
  <Words>6746</Words>
  <Application>Microsoft Office PowerPoint</Application>
  <PresentationFormat>Widescreen</PresentationFormat>
  <Paragraphs>574</Paragraphs>
  <Slides>53</Slides>
  <Notes>10</Notes>
  <HiddenSlides>0</HiddenSlides>
  <MMClips>1</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66" baseType="lpstr">
      <vt:lpstr>Arial</vt:lpstr>
      <vt:lpstr>Calibri</vt:lpstr>
      <vt:lpstr>Calibri Light</vt:lpstr>
      <vt:lpstr>Finlandica</vt:lpstr>
      <vt:lpstr>Lato Regular</vt:lpstr>
      <vt:lpstr>Montserrat</vt:lpstr>
      <vt:lpstr>Montserrat Light</vt:lpstr>
      <vt:lpstr>Montserrat Medium</vt:lpstr>
      <vt:lpstr>Nuacht Serif Text</vt:lpstr>
      <vt:lpstr>Quattrocento Sans</vt:lpstr>
      <vt:lpstr>Times New Roman</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82C37C6A2D76CE3ED471AD3B6F5EC601</cp:keywords>
  <cp:lastModifiedBy>canice euei</cp:lastModifiedBy>
  <cp:revision>299</cp:revision>
  <cp:lastPrinted>2022-09-17T08:27:20Z</cp:lastPrinted>
  <dcterms:created xsi:type="dcterms:W3CDTF">2020-10-14T13:32:04Z</dcterms:created>
  <dcterms:modified xsi:type="dcterms:W3CDTF">2022-11-22T14:41:06Z</dcterms:modified>
</cp:coreProperties>
</file>